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7" r:id="rId2"/>
    <p:sldId id="258" r:id="rId3"/>
    <p:sldId id="259" r:id="rId4"/>
    <p:sldId id="260" r:id="rId5"/>
  </p:sldIdLst>
  <p:sldSz cx="9144000" cy="6858000" type="screen4x3"/>
  <p:notesSz cx="6858000" cy="9144000"/>
  <p:custDataLst>
    <p:tags r:id="rId6"/>
  </p:custDataLst>
  <p:defaultTextStyle>
    <a:defPPr>
      <a:defRPr lang="tr-T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>
      <p:cViewPr>
        <p:scale>
          <a:sx n="75" d="100"/>
          <a:sy n="75" d="100"/>
        </p:scale>
        <p:origin x="-1016" y="-4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5" Type="http://schemas.openxmlformats.org/officeDocument/2006/relationships/slide" Target="slides/slide4.xml"/><Relationship Id="rId10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2.emf"/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aşlık Slayd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Alt Başlık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tr-TR" smtClean="0"/>
              <a:t>Asıl alt başlık stilini düzenlemek için tıklatın</a:t>
            </a:r>
            <a:endParaRPr lang="tr-TR"/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9EBED3-374A-4F96-BC0B-324574454037}" type="datetimeFigureOut">
              <a:rPr lang="tr-TR" smtClean="0"/>
              <a:t>23.01.2018</a:t>
            </a:fld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1B5EDE-CD88-4919-94F6-27D540AD3785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46364535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Başlık, Dikey Met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Dikey Metin Yer Tutucusu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9EBED3-374A-4F96-BC0B-324574454037}" type="datetimeFigureOut">
              <a:rPr lang="tr-TR" smtClean="0"/>
              <a:t>23.01.2018</a:t>
            </a:fld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1B5EDE-CD88-4919-94F6-27D540AD3785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72576374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Dikey Başlık ve Met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key Başlık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Dikey Metin Yer Tutucusu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9EBED3-374A-4F96-BC0B-324574454037}" type="datetimeFigureOut">
              <a:rPr lang="tr-TR" smtClean="0"/>
              <a:t>23.01.2018</a:t>
            </a:fld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1B5EDE-CD88-4919-94F6-27D540AD3785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73795712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aşlık ve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İçerik Yer Tutucus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9EBED3-374A-4F96-BC0B-324574454037}" type="datetimeFigureOut">
              <a:rPr lang="tr-TR" smtClean="0"/>
              <a:t>23.01.2018</a:t>
            </a:fld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1B5EDE-CD88-4919-94F6-27D540AD3785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82099550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Bölüm Üstbilgi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Metin Yer Tutucus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9EBED3-374A-4F96-BC0B-324574454037}" type="datetimeFigureOut">
              <a:rPr lang="tr-TR" smtClean="0"/>
              <a:t>23.01.2018</a:t>
            </a:fld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1B5EDE-CD88-4919-94F6-27D540AD3785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6316171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İki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İçerik Yer Tutucusu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İçerik Yer Tutucusu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5" name="Veri Yer Tutucusu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9EBED3-374A-4F96-BC0B-324574454037}" type="datetimeFigureOut">
              <a:rPr lang="tr-TR" smtClean="0"/>
              <a:t>23.01.2018</a:t>
            </a:fld>
            <a:endParaRPr lang="tr-TR"/>
          </a:p>
        </p:txBody>
      </p:sp>
      <p:sp>
        <p:nvSpPr>
          <p:cNvPr id="6" name="Altbilgi Yer Tutucusu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7" name="Slayt Numarası Yer Tutucus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1B5EDE-CD88-4919-94F6-27D540AD3785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58401277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Karşılaştır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Metin Yer Tutucus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</p:txBody>
      </p:sp>
      <p:sp>
        <p:nvSpPr>
          <p:cNvPr id="4" name="İçerik Yer Tutucus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5" name="Metin Yer Tutucus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</p:txBody>
      </p:sp>
      <p:sp>
        <p:nvSpPr>
          <p:cNvPr id="6" name="İçerik Yer Tutucus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7" name="Veri Yer Tutucusu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9EBED3-374A-4F96-BC0B-324574454037}" type="datetimeFigureOut">
              <a:rPr lang="tr-TR" smtClean="0"/>
              <a:t>23.01.2018</a:t>
            </a:fld>
            <a:endParaRPr lang="tr-TR"/>
          </a:p>
        </p:txBody>
      </p:sp>
      <p:sp>
        <p:nvSpPr>
          <p:cNvPr id="8" name="Altbilgi Yer Tutucusu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9" name="Slayt Numarası Yer Tutucusu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1B5EDE-CD88-4919-94F6-27D540AD3785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53315711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Yalnızca Başlı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Veri Yer Tutucusu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9EBED3-374A-4F96-BC0B-324574454037}" type="datetimeFigureOut">
              <a:rPr lang="tr-TR" smtClean="0"/>
              <a:t>23.01.2018</a:t>
            </a:fld>
            <a:endParaRPr lang="tr-TR"/>
          </a:p>
        </p:txBody>
      </p:sp>
      <p:sp>
        <p:nvSpPr>
          <p:cNvPr id="4" name="Altbilgi Yer Tutucusu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5" name="Slayt Numarası Yer Tutucus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1B5EDE-CD88-4919-94F6-27D540AD3785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8369060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Nesne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8392726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3" name="think-cell Slide" r:id="rId4" imgW="416" imgH="416" progId="TCLayout.ActiveDocument.1">
                  <p:embed/>
                </p:oleObj>
              </mc:Choice>
              <mc:Fallback>
                <p:oleObj name="think-cell Slide" r:id="rId4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Veri Yer Tutucusu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9EBED3-374A-4F96-BC0B-324574454037}" type="datetimeFigureOut">
              <a:rPr lang="tr-TR" smtClean="0"/>
              <a:t>23.01.2018</a:t>
            </a:fld>
            <a:endParaRPr lang="tr-TR"/>
          </a:p>
        </p:txBody>
      </p:sp>
      <p:sp>
        <p:nvSpPr>
          <p:cNvPr id="3" name="Altbilgi Yer Tutucusu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1B5EDE-CD88-4919-94F6-27D540AD3785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44091012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Başlıklı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İçerik Yer Tutucus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Metin Yer Tutucus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</p:txBody>
      </p:sp>
      <p:sp>
        <p:nvSpPr>
          <p:cNvPr id="5" name="Veri Yer Tutucusu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9EBED3-374A-4F96-BC0B-324574454037}" type="datetimeFigureOut">
              <a:rPr lang="tr-TR" smtClean="0"/>
              <a:t>23.01.2018</a:t>
            </a:fld>
            <a:endParaRPr lang="tr-TR"/>
          </a:p>
        </p:txBody>
      </p:sp>
      <p:sp>
        <p:nvSpPr>
          <p:cNvPr id="6" name="Altbilgi Yer Tutucusu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7" name="Slayt Numarası Yer Tutucus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1B5EDE-CD88-4919-94F6-27D540AD3785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37720104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aşlıklı Resi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Resim Yer Tutucus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tr-TR"/>
          </a:p>
        </p:txBody>
      </p:sp>
      <p:sp>
        <p:nvSpPr>
          <p:cNvPr id="4" name="Metin Yer Tutucus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tr-TR" smtClean="0"/>
              <a:t>Asıl metin stillerini düzenlemek için tıklatın</a:t>
            </a:r>
          </a:p>
        </p:txBody>
      </p:sp>
      <p:sp>
        <p:nvSpPr>
          <p:cNvPr id="5" name="Veri Yer Tutucusu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A9EBED3-374A-4F96-BC0B-324574454037}" type="datetimeFigureOut">
              <a:rPr lang="tr-TR" smtClean="0"/>
              <a:t>23.01.2018</a:t>
            </a:fld>
            <a:endParaRPr lang="tr-TR"/>
          </a:p>
        </p:txBody>
      </p:sp>
      <p:sp>
        <p:nvSpPr>
          <p:cNvPr id="6" name="Altbilgi Yer Tutucusu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7" name="Slayt Numarası Yer Tutucus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81B5EDE-CD88-4919-94F6-27D540AD3785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2494133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Nesne 6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31616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6" name="think-cell Slide" r:id="rId15" imgW="416" imgH="416" progId="TCLayout.ActiveDocument.1">
                  <p:embed/>
                </p:oleObj>
              </mc:Choice>
              <mc:Fallback>
                <p:oleObj name="think-cell Slide" r:id="rId15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Başlık Yer Tutucusu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tr-TR" smtClean="0"/>
              <a:t>Asıl başlık stili için tıklatın</a:t>
            </a:r>
            <a:endParaRPr lang="tr-TR"/>
          </a:p>
        </p:txBody>
      </p:sp>
      <p:sp>
        <p:nvSpPr>
          <p:cNvPr id="3" name="Metin Yer Tutucusu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tr-TR" smtClean="0"/>
              <a:t>Asıl metin stillerini düzenlemek için tıklatın</a:t>
            </a:r>
          </a:p>
          <a:p>
            <a:pPr lvl="1"/>
            <a:r>
              <a:rPr lang="tr-TR" smtClean="0"/>
              <a:t>İkinci düzey</a:t>
            </a:r>
          </a:p>
          <a:p>
            <a:pPr lvl="2"/>
            <a:r>
              <a:rPr lang="tr-TR" smtClean="0"/>
              <a:t>Üçüncü düzey</a:t>
            </a:r>
          </a:p>
          <a:p>
            <a:pPr lvl="3"/>
            <a:r>
              <a:rPr lang="tr-TR" smtClean="0"/>
              <a:t>Dördüncü düzey</a:t>
            </a:r>
          </a:p>
          <a:p>
            <a:pPr lvl="4"/>
            <a:r>
              <a:rPr lang="tr-TR" smtClean="0"/>
              <a:t>Beşinci düzey</a:t>
            </a:r>
            <a:endParaRPr lang="tr-TR"/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A9EBED3-374A-4F96-BC0B-324574454037}" type="datetimeFigureOut">
              <a:rPr lang="tr-TR" smtClean="0"/>
              <a:t>23.01.2018</a:t>
            </a:fld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81B5EDE-CD88-4919-94F6-27D540AD3785}" type="slidenum">
              <a:rPr lang="tr-TR" smtClean="0"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6930147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tr-T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26" Type="http://schemas.openxmlformats.org/officeDocument/2006/relationships/image" Target="../media/image2.emf"/><Relationship Id="rId3" Type="http://schemas.openxmlformats.org/officeDocument/2006/relationships/tags" Target="../tags/tag5.xml"/><Relationship Id="rId21" Type="http://schemas.openxmlformats.org/officeDocument/2006/relationships/tags" Target="../tags/tag23.xml"/><Relationship Id="rId7" Type="http://schemas.openxmlformats.org/officeDocument/2006/relationships/tags" Target="../tags/tag9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25" Type="http://schemas.openxmlformats.org/officeDocument/2006/relationships/oleObject" Target="../embeddings/oleObject4.bin"/><Relationship Id="rId2" Type="http://schemas.openxmlformats.org/officeDocument/2006/relationships/tags" Target="../tags/tag4.xml"/><Relationship Id="rId16" Type="http://schemas.openxmlformats.org/officeDocument/2006/relationships/tags" Target="../tags/tag18.xml"/><Relationship Id="rId20" Type="http://schemas.openxmlformats.org/officeDocument/2006/relationships/tags" Target="../tags/tag22.xml"/><Relationship Id="rId1" Type="http://schemas.openxmlformats.org/officeDocument/2006/relationships/vmlDrawing" Target="../drawings/vmlDrawing3.v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24" Type="http://schemas.openxmlformats.org/officeDocument/2006/relationships/image" Target="../media/image1.emf"/><Relationship Id="rId5" Type="http://schemas.openxmlformats.org/officeDocument/2006/relationships/tags" Target="../tags/tag7.xml"/><Relationship Id="rId15" Type="http://schemas.openxmlformats.org/officeDocument/2006/relationships/tags" Target="../tags/tag17.xml"/><Relationship Id="rId23" Type="http://schemas.openxmlformats.org/officeDocument/2006/relationships/oleObject" Target="../embeddings/oleObject3.bin"/><Relationship Id="rId28" Type="http://schemas.openxmlformats.org/officeDocument/2006/relationships/image" Target="../media/image3.emf"/><Relationship Id="rId10" Type="http://schemas.openxmlformats.org/officeDocument/2006/relationships/tags" Target="../tags/tag12.xml"/><Relationship Id="rId19" Type="http://schemas.openxmlformats.org/officeDocument/2006/relationships/tags" Target="../tags/tag21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tags" Target="../tags/tag16.xml"/><Relationship Id="rId22" Type="http://schemas.openxmlformats.org/officeDocument/2006/relationships/slideLayout" Target="../slideLayouts/slideLayout7.xml"/><Relationship Id="rId27" Type="http://schemas.openxmlformats.org/officeDocument/2006/relationships/oleObject" Target="../embeddings/oleObject5.bin"/></Relationships>
</file>

<file path=ppt/slides/_rels/slide2.xml.rels><?xml version="1.0" encoding="UTF-8" standalone="yes"?>
<Relationships xmlns="http://schemas.openxmlformats.org/package/2006/relationships"><Relationship Id="rId13" Type="http://schemas.openxmlformats.org/officeDocument/2006/relationships/tags" Target="../tags/tag35.xml"/><Relationship Id="rId18" Type="http://schemas.openxmlformats.org/officeDocument/2006/relationships/tags" Target="../tags/tag40.xml"/><Relationship Id="rId26" Type="http://schemas.openxmlformats.org/officeDocument/2006/relationships/tags" Target="../tags/tag48.xml"/><Relationship Id="rId39" Type="http://schemas.openxmlformats.org/officeDocument/2006/relationships/tags" Target="../tags/tag61.xml"/><Relationship Id="rId21" Type="http://schemas.openxmlformats.org/officeDocument/2006/relationships/tags" Target="../tags/tag43.xml"/><Relationship Id="rId34" Type="http://schemas.openxmlformats.org/officeDocument/2006/relationships/tags" Target="../tags/tag56.xml"/><Relationship Id="rId42" Type="http://schemas.openxmlformats.org/officeDocument/2006/relationships/tags" Target="../tags/tag64.xml"/><Relationship Id="rId47" Type="http://schemas.openxmlformats.org/officeDocument/2006/relationships/tags" Target="../tags/tag69.xml"/><Relationship Id="rId50" Type="http://schemas.openxmlformats.org/officeDocument/2006/relationships/tags" Target="../tags/tag72.xml"/><Relationship Id="rId55" Type="http://schemas.openxmlformats.org/officeDocument/2006/relationships/tags" Target="../tags/tag77.xml"/><Relationship Id="rId63" Type="http://schemas.openxmlformats.org/officeDocument/2006/relationships/tags" Target="../tags/tag85.xml"/><Relationship Id="rId68" Type="http://schemas.openxmlformats.org/officeDocument/2006/relationships/tags" Target="../tags/tag90.xml"/><Relationship Id="rId76" Type="http://schemas.openxmlformats.org/officeDocument/2006/relationships/tags" Target="../tags/tag98.xml"/><Relationship Id="rId7" Type="http://schemas.openxmlformats.org/officeDocument/2006/relationships/tags" Target="../tags/tag29.xml"/><Relationship Id="rId71" Type="http://schemas.openxmlformats.org/officeDocument/2006/relationships/tags" Target="../tags/tag93.xml"/><Relationship Id="rId2" Type="http://schemas.openxmlformats.org/officeDocument/2006/relationships/tags" Target="../tags/tag24.xml"/><Relationship Id="rId16" Type="http://schemas.openxmlformats.org/officeDocument/2006/relationships/tags" Target="../tags/tag38.xml"/><Relationship Id="rId29" Type="http://schemas.openxmlformats.org/officeDocument/2006/relationships/tags" Target="../tags/tag51.xml"/><Relationship Id="rId11" Type="http://schemas.openxmlformats.org/officeDocument/2006/relationships/tags" Target="../tags/tag33.xml"/><Relationship Id="rId24" Type="http://schemas.openxmlformats.org/officeDocument/2006/relationships/tags" Target="../tags/tag46.xml"/><Relationship Id="rId32" Type="http://schemas.openxmlformats.org/officeDocument/2006/relationships/tags" Target="../tags/tag54.xml"/><Relationship Id="rId37" Type="http://schemas.openxmlformats.org/officeDocument/2006/relationships/tags" Target="../tags/tag59.xml"/><Relationship Id="rId40" Type="http://schemas.openxmlformats.org/officeDocument/2006/relationships/tags" Target="../tags/tag62.xml"/><Relationship Id="rId45" Type="http://schemas.openxmlformats.org/officeDocument/2006/relationships/tags" Target="../tags/tag67.xml"/><Relationship Id="rId53" Type="http://schemas.openxmlformats.org/officeDocument/2006/relationships/tags" Target="../tags/tag75.xml"/><Relationship Id="rId58" Type="http://schemas.openxmlformats.org/officeDocument/2006/relationships/tags" Target="../tags/tag80.xml"/><Relationship Id="rId66" Type="http://schemas.openxmlformats.org/officeDocument/2006/relationships/tags" Target="../tags/tag88.xml"/><Relationship Id="rId74" Type="http://schemas.openxmlformats.org/officeDocument/2006/relationships/tags" Target="../tags/tag96.xml"/><Relationship Id="rId79" Type="http://schemas.openxmlformats.org/officeDocument/2006/relationships/slideLayout" Target="../slideLayouts/slideLayout7.xml"/><Relationship Id="rId5" Type="http://schemas.openxmlformats.org/officeDocument/2006/relationships/tags" Target="../tags/tag27.xml"/><Relationship Id="rId61" Type="http://schemas.openxmlformats.org/officeDocument/2006/relationships/tags" Target="../tags/tag83.xml"/><Relationship Id="rId82" Type="http://schemas.openxmlformats.org/officeDocument/2006/relationships/oleObject" Target="../embeddings/oleObject7.bin"/><Relationship Id="rId10" Type="http://schemas.openxmlformats.org/officeDocument/2006/relationships/tags" Target="../tags/tag32.xml"/><Relationship Id="rId19" Type="http://schemas.openxmlformats.org/officeDocument/2006/relationships/tags" Target="../tags/tag41.xml"/><Relationship Id="rId31" Type="http://schemas.openxmlformats.org/officeDocument/2006/relationships/tags" Target="../tags/tag53.xml"/><Relationship Id="rId44" Type="http://schemas.openxmlformats.org/officeDocument/2006/relationships/tags" Target="../tags/tag66.xml"/><Relationship Id="rId52" Type="http://schemas.openxmlformats.org/officeDocument/2006/relationships/tags" Target="../tags/tag74.xml"/><Relationship Id="rId60" Type="http://schemas.openxmlformats.org/officeDocument/2006/relationships/tags" Target="../tags/tag82.xml"/><Relationship Id="rId65" Type="http://schemas.openxmlformats.org/officeDocument/2006/relationships/tags" Target="../tags/tag87.xml"/><Relationship Id="rId73" Type="http://schemas.openxmlformats.org/officeDocument/2006/relationships/tags" Target="../tags/tag95.xml"/><Relationship Id="rId78" Type="http://schemas.openxmlformats.org/officeDocument/2006/relationships/tags" Target="../tags/tag100.xml"/><Relationship Id="rId81" Type="http://schemas.openxmlformats.org/officeDocument/2006/relationships/image" Target="../media/image1.emf"/><Relationship Id="rId4" Type="http://schemas.openxmlformats.org/officeDocument/2006/relationships/tags" Target="../tags/tag26.xml"/><Relationship Id="rId9" Type="http://schemas.openxmlformats.org/officeDocument/2006/relationships/tags" Target="../tags/tag31.xml"/><Relationship Id="rId14" Type="http://schemas.openxmlformats.org/officeDocument/2006/relationships/tags" Target="../tags/tag36.xml"/><Relationship Id="rId22" Type="http://schemas.openxmlformats.org/officeDocument/2006/relationships/tags" Target="../tags/tag44.xml"/><Relationship Id="rId27" Type="http://schemas.openxmlformats.org/officeDocument/2006/relationships/tags" Target="../tags/tag49.xml"/><Relationship Id="rId30" Type="http://schemas.openxmlformats.org/officeDocument/2006/relationships/tags" Target="../tags/tag52.xml"/><Relationship Id="rId35" Type="http://schemas.openxmlformats.org/officeDocument/2006/relationships/tags" Target="../tags/tag57.xml"/><Relationship Id="rId43" Type="http://schemas.openxmlformats.org/officeDocument/2006/relationships/tags" Target="../tags/tag65.xml"/><Relationship Id="rId48" Type="http://schemas.openxmlformats.org/officeDocument/2006/relationships/tags" Target="../tags/tag70.xml"/><Relationship Id="rId56" Type="http://schemas.openxmlformats.org/officeDocument/2006/relationships/tags" Target="../tags/tag78.xml"/><Relationship Id="rId64" Type="http://schemas.openxmlformats.org/officeDocument/2006/relationships/tags" Target="../tags/tag86.xml"/><Relationship Id="rId69" Type="http://schemas.openxmlformats.org/officeDocument/2006/relationships/tags" Target="../tags/tag91.xml"/><Relationship Id="rId77" Type="http://schemas.openxmlformats.org/officeDocument/2006/relationships/tags" Target="../tags/tag99.xml"/><Relationship Id="rId8" Type="http://schemas.openxmlformats.org/officeDocument/2006/relationships/tags" Target="../tags/tag30.xml"/><Relationship Id="rId51" Type="http://schemas.openxmlformats.org/officeDocument/2006/relationships/tags" Target="../tags/tag73.xml"/><Relationship Id="rId72" Type="http://schemas.openxmlformats.org/officeDocument/2006/relationships/tags" Target="../tags/tag94.xml"/><Relationship Id="rId80" Type="http://schemas.openxmlformats.org/officeDocument/2006/relationships/oleObject" Target="../embeddings/oleObject6.bin"/><Relationship Id="rId3" Type="http://schemas.openxmlformats.org/officeDocument/2006/relationships/tags" Target="../tags/tag25.xml"/><Relationship Id="rId12" Type="http://schemas.openxmlformats.org/officeDocument/2006/relationships/tags" Target="../tags/tag34.xml"/><Relationship Id="rId17" Type="http://schemas.openxmlformats.org/officeDocument/2006/relationships/tags" Target="../tags/tag39.xml"/><Relationship Id="rId25" Type="http://schemas.openxmlformats.org/officeDocument/2006/relationships/tags" Target="../tags/tag47.xml"/><Relationship Id="rId33" Type="http://schemas.openxmlformats.org/officeDocument/2006/relationships/tags" Target="../tags/tag55.xml"/><Relationship Id="rId38" Type="http://schemas.openxmlformats.org/officeDocument/2006/relationships/tags" Target="../tags/tag60.xml"/><Relationship Id="rId46" Type="http://schemas.openxmlformats.org/officeDocument/2006/relationships/tags" Target="../tags/tag68.xml"/><Relationship Id="rId59" Type="http://schemas.openxmlformats.org/officeDocument/2006/relationships/tags" Target="../tags/tag81.xml"/><Relationship Id="rId67" Type="http://schemas.openxmlformats.org/officeDocument/2006/relationships/tags" Target="../tags/tag89.xml"/><Relationship Id="rId20" Type="http://schemas.openxmlformats.org/officeDocument/2006/relationships/tags" Target="../tags/tag42.xml"/><Relationship Id="rId41" Type="http://schemas.openxmlformats.org/officeDocument/2006/relationships/tags" Target="../tags/tag63.xml"/><Relationship Id="rId54" Type="http://schemas.openxmlformats.org/officeDocument/2006/relationships/tags" Target="../tags/tag76.xml"/><Relationship Id="rId62" Type="http://schemas.openxmlformats.org/officeDocument/2006/relationships/tags" Target="../tags/tag84.xml"/><Relationship Id="rId70" Type="http://schemas.openxmlformats.org/officeDocument/2006/relationships/tags" Target="../tags/tag92.xml"/><Relationship Id="rId75" Type="http://schemas.openxmlformats.org/officeDocument/2006/relationships/tags" Target="../tags/tag97.xml"/><Relationship Id="rId83" Type="http://schemas.openxmlformats.org/officeDocument/2006/relationships/image" Target="../media/image4.emf"/><Relationship Id="rId1" Type="http://schemas.openxmlformats.org/officeDocument/2006/relationships/vmlDrawing" Target="../drawings/vmlDrawing4.vml"/><Relationship Id="rId6" Type="http://schemas.openxmlformats.org/officeDocument/2006/relationships/tags" Target="../tags/tag28.xml"/><Relationship Id="rId15" Type="http://schemas.openxmlformats.org/officeDocument/2006/relationships/tags" Target="../tags/tag37.xml"/><Relationship Id="rId23" Type="http://schemas.openxmlformats.org/officeDocument/2006/relationships/tags" Target="../tags/tag45.xml"/><Relationship Id="rId28" Type="http://schemas.openxmlformats.org/officeDocument/2006/relationships/tags" Target="../tags/tag50.xml"/><Relationship Id="rId36" Type="http://schemas.openxmlformats.org/officeDocument/2006/relationships/tags" Target="../tags/tag58.xml"/><Relationship Id="rId49" Type="http://schemas.openxmlformats.org/officeDocument/2006/relationships/tags" Target="../tags/tag71.xml"/><Relationship Id="rId57" Type="http://schemas.openxmlformats.org/officeDocument/2006/relationships/tags" Target="../tags/tag79.xml"/></Relationships>
</file>

<file path=ppt/slides/_rels/slide3.xml.rels><?xml version="1.0" encoding="UTF-8" standalone="yes"?>
<Relationships xmlns="http://schemas.openxmlformats.org/package/2006/relationships"><Relationship Id="rId13" Type="http://schemas.openxmlformats.org/officeDocument/2006/relationships/tags" Target="../tags/tag112.xml"/><Relationship Id="rId18" Type="http://schemas.openxmlformats.org/officeDocument/2006/relationships/tags" Target="../tags/tag117.xml"/><Relationship Id="rId26" Type="http://schemas.openxmlformats.org/officeDocument/2006/relationships/tags" Target="../tags/tag125.xml"/><Relationship Id="rId39" Type="http://schemas.openxmlformats.org/officeDocument/2006/relationships/tags" Target="../tags/tag138.xml"/><Relationship Id="rId21" Type="http://schemas.openxmlformats.org/officeDocument/2006/relationships/tags" Target="../tags/tag120.xml"/><Relationship Id="rId34" Type="http://schemas.openxmlformats.org/officeDocument/2006/relationships/tags" Target="../tags/tag133.xml"/><Relationship Id="rId42" Type="http://schemas.openxmlformats.org/officeDocument/2006/relationships/tags" Target="../tags/tag141.xml"/><Relationship Id="rId47" Type="http://schemas.openxmlformats.org/officeDocument/2006/relationships/tags" Target="../tags/tag146.xml"/><Relationship Id="rId50" Type="http://schemas.openxmlformats.org/officeDocument/2006/relationships/tags" Target="../tags/tag149.xml"/><Relationship Id="rId55" Type="http://schemas.openxmlformats.org/officeDocument/2006/relationships/tags" Target="../tags/tag154.xml"/><Relationship Id="rId63" Type="http://schemas.openxmlformats.org/officeDocument/2006/relationships/tags" Target="../tags/tag162.xml"/><Relationship Id="rId68" Type="http://schemas.openxmlformats.org/officeDocument/2006/relationships/tags" Target="../tags/tag167.xml"/><Relationship Id="rId76" Type="http://schemas.openxmlformats.org/officeDocument/2006/relationships/tags" Target="../tags/tag175.xml"/><Relationship Id="rId7" Type="http://schemas.openxmlformats.org/officeDocument/2006/relationships/tags" Target="../tags/tag106.xml"/><Relationship Id="rId71" Type="http://schemas.openxmlformats.org/officeDocument/2006/relationships/tags" Target="../tags/tag170.xml"/><Relationship Id="rId2" Type="http://schemas.openxmlformats.org/officeDocument/2006/relationships/tags" Target="../tags/tag101.xml"/><Relationship Id="rId16" Type="http://schemas.openxmlformats.org/officeDocument/2006/relationships/tags" Target="../tags/tag115.xml"/><Relationship Id="rId29" Type="http://schemas.openxmlformats.org/officeDocument/2006/relationships/tags" Target="../tags/tag128.xml"/><Relationship Id="rId11" Type="http://schemas.openxmlformats.org/officeDocument/2006/relationships/tags" Target="../tags/tag110.xml"/><Relationship Id="rId24" Type="http://schemas.openxmlformats.org/officeDocument/2006/relationships/tags" Target="../tags/tag123.xml"/><Relationship Id="rId32" Type="http://schemas.openxmlformats.org/officeDocument/2006/relationships/tags" Target="../tags/tag131.xml"/><Relationship Id="rId37" Type="http://schemas.openxmlformats.org/officeDocument/2006/relationships/tags" Target="../tags/tag136.xml"/><Relationship Id="rId40" Type="http://schemas.openxmlformats.org/officeDocument/2006/relationships/tags" Target="../tags/tag139.xml"/><Relationship Id="rId45" Type="http://schemas.openxmlformats.org/officeDocument/2006/relationships/tags" Target="../tags/tag144.xml"/><Relationship Id="rId53" Type="http://schemas.openxmlformats.org/officeDocument/2006/relationships/tags" Target="../tags/tag152.xml"/><Relationship Id="rId58" Type="http://schemas.openxmlformats.org/officeDocument/2006/relationships/tags" Target="../tags/tag157.xml"/><Relationship Id="rId66" Type="http://schemas.openxmlformats.org/officeDocument/2006/relationships/tags" Target="../tags/tag165.xml"/><Relationship Id="rId74" Type="http://schemas.openxmlformats.org/officeDocument/2006/relationships/tags" Target="../tags/tag173.xml"/><Relationship Id="rId79" Type="http://schemas.openxmlformats.org/officeDocument/2006/relationships/slideLayout" Target="../slideLayouts/slideLayout7.xml"/><Relationship Id="rId5" Type="http://schemas.openxmlformats.org/officeDocument/2006/relationships/tags" Target="../tags/tag104.xml"/><Relationship Id="rId61" Type="http://schemas.openxmlformats.org/officeDocument/2006/relationships/tags" Target="../tags/tag160.xml"/><Relationship Id="rId82" Type="http://schemas.openxmlformats.org/officeDocument/2006/relationships/oleObject" Target="../embeddings/oleObject9.bin"/><Relationship Id="rId10" Type="http://schemas.openxmlformats.org/officeDocument/2006/relationships/tags" Target="../tags/tag109.xml"/><Relationship Id="rId19" Type="http://schemas.openxmlformats.org/officeDocument/2006/relationships/tags" Target="../tags/tag118.xml"/><Relationship Id="rId31" Type="http://schemas.openxmlformats.org/officeDocument/2006/relationships/tags" Target="../tags/tag130.xml"/><Relationship Id="rId44" Type="http://schemas.openxmlformats.org/officeDocument/2006/relationships/tags" Target="../tags/tag143.xml"/><Relationship Id="rId52" Type="http://schemas.openxmlformats.org/officeDocument/2006/relationships/tags" Target="../tags/tag151.xml"/><Relationship Id="rId60" Type="http://schemas.openxmlformats.org/officeDocument/2006/relationships/tags" Target="../tags/tag159.xml"/><Relationship Id="rId65" Type="http://schemas.openxmlformats.org/officeDocument/2006/relationships/tags" Target="../tags/tag164.xml"/><Relationship Id="rId73" Type="http://schemas.openxmlformats.org/officeDocument/2006/relationships/tags" Target="../tags/tag172.xml"/><Relationship Id="rId78" Type="http://schemas.openxmlformats.org/officeDocument/2006/relationships/tags" Target="../tags/tag177.xml"/><Relationship Id="rId81" Type="http://schemas.openxmlformats.org/officeDocument/2006/relationships/image" Target="../media/image1.emf"/><Relationship Id="rId4" Type="http://schemas.openxmlformats.org/officeDocument/2006/relationships/tags" Target="../tags/tag103.xml"/><Relationship Id="rId9" Type="http://schemas.openxmlformats.org/officeDocument/2006/relationships/tags" Target="../tags/tag108.xml"/><Relationship Id="rId14" Type="http://schemas.openxmlformats.org/officeDocument/2006/relationships/tags" Target="../tags/tag113.xml"/><Relationship Id="rId22" Type="http://schemas.openxmlformats.org/officeDocument/2006/relationships/tags" Target="../tags/tag121.xml"/><Relationship Id="rId27" Type="http://schemas.openxmlformats.org/officeDocument/2006/relationships/tags" Target="../tags/tag126.xml"/><Relationship Id="rId30" Type="http://schemas.openxmlformats.org/officeDocument/2006/relationships/tags" Target="../tags/tag129.xml"/><Relationship Id="rId35" Type="http://schemas.openxmlformats.org/officeDocument/2006/relationships/tags" Target="../tags/tag134.xml"/><Relationship Id="rId43" Type="http://schemas.openxmlformats.org/officeDocument/2006/relationships/tags" Target="../tags/tag142.xml"/><Relationship Id="rId48" Type="http://schemas.openxmlformats.org/officeDocument/2006/relationships/tags" Target="../tags/tag147.xml"/><Relationship Id="rId56" Type="http://schemas.openxmlformats.org/officeDocument/2006/relationships/tags" Target="../tags/tag155.xml"/><Relationship Id="rId64" Type="http://schemas.openxmlformats.org/officeDocument/2006/relationships/tags" Target="../tags/tag163.xml"/><Relationship Id="rId69" Type="http://schemas.openxmlformats.org/officeDocument/2006/relationships/tags" Target="../tags/tag168.xml"/><Relationship Id="rId77" Type="http://schemas.openxmlformats.org/officeDocument/2006/relationships/tags" Target="../tags/tag176.xml"/><Relationship Id="rId8" Type="http://schemas.openxmlformats.org/officeDocument/2006/relationships/tags" Target="../tags/tag107.xml"/><Relationship Id="rId51" Type="http://schemas.openxmlformats.org/officeDocument/2006/relationships/tags" Target="../tags/tag150.xml"/><Relationship Id="rId72" Type="http://schemas.openxmlformats.org/officeDocument/2006/relationships/tags" Target="../tags/tag171.xml"/><Relationship Id="rId80" Type="http://schemas.openxmlformats.org/officeDocument/2006/relationships/oleObject" Target="../embeddings/oleObject8.bin"/><Relationship Id="rId3" Type="http://schemas.openxmlformats.org/officeDocument/2006/relationships/tags" Target="../tags/tag102.xml"/><Relationship Id="rId12" Type="http://schemas.openxmlformats.org/officeDocument/2006/relationships/tags" Target="../tags/tag111.xml"/><Relationship Id="rId17" Type="http://schemas.openxmlformats.org/officeDocument/2006/relationships/tags" Target="../tags/tag116.xml"/><Relationship Id="rId25" Type="http://schemas.openxmlformats.org/officeDocument/2006/relationships/tags" Target="../tags/tag124.xml"/><Relationship Id="rId33" Type="http://schemas.openxmlformats.org/officeDocument/2006/relationships/tags" Target="../tags/tag132.xml"/><Relationship Id="rId38" Type="http://schemas.openxmlformats.org/officeDocument/2006/relationships/tags" Target="../tags/tag137.xml"/><Relationship Id="rId46" Type="http://schemas.openxmlformats.org/officeDocument/2006/relationships/tags" Target="../tags/tag145.xml"/><Relationship Id="rId59" Type="http://schemas.openxmlformats.org/officeDocument/2006/relationships/tags" Target="../tags/tag158.xml"/><Relationship Id="rId67" Type="http://schemas.openxmlformats.org/officeDocument/2006/relationships/tags" Target="../tags/tag166.xml"/><Relationship Id="rId20" Type="http://schemas.openxmlformats.org/officeDocument/2006/relationships/tags" Target="../tags/tag119.xml"/><Relationship Id="rId41" Type="http://schemas.openxmlformats.org/officeDocument/2006/relationships/tags" Target="../tags/tag140.xml"/><Relationship Id="rId54" Type="http://schemas.openxmlformats.org/officeDocument/2006/relationships/tags" Target="../tags/tag153.xml"/><Relationship Id="rId62" Type="http://schemas.openxmlformats.org/officeDocument/2006/relationships/tags" Target="../tags/tag161.xml"/><Relationship Id="rId70" Type="http://schemas.openxmlformats.org/officeDocument/2006/relationships/tags" Target="../tags/tag169.xml"/><Relationship Id="rId75" Type="http://schemas.openxmlformats.org/officeDocument/2006/relationships/tags" Target="../tags/tag174.xml"/><Relationship Id="rId83" Type="http://schemas.openxmlformats.org/officeDocument/2006/relationships/image" Target="../media/image5.emf"/><Relationship Id="rId1" Type="http://schemas.openxmlformats.org/officeDocument/2006/relationships/vmlDrawing" Target="../drawings/vmlDrawing5.vml"/><Relationship Id="rId6" Type="http://schemas.openxmlformats.org/officeDocument/2006/relationships/tags" Target="../tags/tag105.xml"/><Relationship Id="rId15" Type="http://schemas.openxmlformats.org/officeDocument/2006/relationships/tags" Target="../tags/tag114.xml"/><Relationship Id="rId23" Type="http://schemas.openxmlformats.org/officeDocument/2006/relationships/tags" Target="../tags/tag122.xml"/><Relationship Id="rId28" Type="http://schemas.openxmlformats.org/officeDocument/2006/relationships/tags" Target="../tags/tag127.xml"/><Relationship Id="rId36" Type="http://schemas.openxmlformats.org/officeDocument/2006/relationships/tags" Target="../tags/tag135.xml"/><Relationship Id="rId49" Type="http://schemas.openxmlformats.org/officeDocument/2006/relationships/tags" Target="../tags/tag148.xml"/><Relationship Id="rId57" Type="http://schemas.openxmlformats.org/officeDocument/2006/relationships/tags" Target="../tags/tag156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184.xml"/><Relationship Id="rId13" Type="http://schemas.openxmlformats.org/officeDocument/2006/relationships/tags" Target="../tags/tag189.xml"/><Relationship Id="rId18" Type="http://schemas.openxmlformats.org/officeDocument/2006/relationships/oleObject" Target="../embeddings/oleObject10.bin"/><Relationship Id="rId3" Type="http://schemas.openxmlformats.org/officeDocument/2006/relationships/tags" Target="../tags/tag179.xml"/><Relationship Id="rId21" Type="http://schemas.openxmlformats.org/officeDocument/2006/relationships/image" Target="../media/image6.emf"/><Relationship Id="rId7" Type="http://schemas.openxmlformats.org/officeDocument/2006/relationships/tags" Target="../tags/tag183.xml"/><Relationship Id="rId12" Type="http://schemas.openxmlformats.org/officeDocument/2006/relationships/tags" Target="../tags/tag188.xml"/><Relationship Id="rId17" Type="http://schemas.openxmlformats.org/officeDocument/2006/relationships/slideLayout" Target="../slideLayouts/slideLayout7.xml"/><Relationship Id="rId2" Type="http://schemas.openxmlformats.org/officeDocument/2006/relationships/tags" Target="../tags/tag178.xml"/><Relationship Id="rId16" Type="http://schemas.openxmlformats.org/officeDocument/2006/relationships/tags" Target="../tags/tag192.xml"/><Relationship Id="rId20" Type="http://schemas.openxmlformats.org/officeDocument/2006/relationships/oleObject" Target="../embeddings/oleObject11.bin"/><Relationship Id="rId1" Type="http://schemas.openxmlformats.org/officeDocument/2006/relationships/vmlDrawing" Target="../drawings/vmlDrawing6.vml"/><Relationship Id="rId6" Type="http://schemas.openxmlformats.org/officeDocument/2006/relationships/tags" Target="../tags/tag182.xml"/><Relationship Id="rId11" Type="http://schemas.openxmlformats.org/officeDocument/2006/relationships/tags" Target="../tags/tag187.xml"/><Relationship Id="rId5" Type="http://schemas.openxmlformats.org/officeDocument/2006/relationships/tags" Target="../tags/tag181.xml"/><Relationship Id="rId15" Type="http://schemas.openxmlformats.org/officeDocument/2006/relationships/tags" Target="../tags/tag191.xml"/><Relationship Id="rId10" Type="http://schemas.openxmlformats.org/officeDocument/2006/relationships/tags" Target="../tags/tag186.xml"/><Relationship Id="rId19" Type="http://schemas.openxmlformats.org/officeDocument/2006/relationships/image" Target="../media/image1.emf"/><Relationship Id="rId4" Type="http://schemas.openxmlformats.org/officeDocument/2006/relationships/tags" Target="../tags/tag180.xml"/><Relationship Id="rId9" Type="http://schemas.openxmlformats.org/officeDocument/2006/relationships/tags" Target="../tags/tag185.xml"/><Relationship Id="rId14" Type="http://schemas.openxmlformats.org/officeDocument/2006/relationships/tags" Target="../tags/tag19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Nesne 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1872834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6" name="think-cell Slide" r:id="rId23" imgW="416" imgH="416" progId="TCLayout.ActiveDocument.1">
                  <p:embed/>
                </p:oleObj>
              </mc:Choice>
              <mc:Fallback>
                <p:oleObj name="think-cell Slide" r:id="rId23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ikdörtgen 3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1600" dirty="0">
              <a:latin typeface="Times New Roman"/>
              <a:cs typeface="Times New Roman"/>
              <a:sym typeface="Times New Roman"/>
            </a:endParaRPr>
          </a:p>
        </p:txBody>
      </p:sp>
      <p:graphicFrame>
        <p:nvGraphicFramePr>
          <p:cNvPr id="2" name="Nesne 1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117931286"/>
              </p:ext>
            </p:extLst>
          </p:nvPr>
        </p:nvGraphicFramePr>
        <p:xfrm>
          <a:off x="762000" y="1549400"/>
          <a:ext cx="3048000" cy="304786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7" name="Çizelge" r:id="rId25" imgW="3048000" imgH="3047861" progId="MSGraph.Chart.8">
                  <p:embed followColorScheme="full"/>
                </p:oleObj>
              </mc:Choice>
              <mc:Fallback>
                <p:oleObj name="Çizelge" r:id="rId25" imgW="3048000" imgH="3047861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6"/>
                      <a:stretch>
                        <a:fillRect/>
                      </a:stretch>
                    </p:blipFill>
                    <p:spPr>
                      <a:xfrm>
                        <a:off x="762000" y="1549400"/>
                        <a:ext cx="3048000" cy="304786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Metin Yer Tutucusu 11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1884363" y="1376363"/>
            <a:ext cx="1227138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B3E17CB1-C449-4E2B-9A25-6D2F02B8864E}" type="datetime'Di''''''ğ''er'''''''''' ''''D''''ö''v''''i''''z''l''''er'">
              <a:rPr lang="en-US" sz="1600">
                <a:latin typeface="Times New Roman"/>
                <a:cs typeface="Times New Roman"/>
                <a:sym typeface="Times New Roman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Diğer Dövizler</a:t>
            </a:fld>
            <a:endParaRPr lang="tr-TR" sz="1600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9" name="Metin Yer Tutucusu 9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911225" y="1447800"/>
            <a:ext cx="922338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43CEB5A-9DA4-4BED-A899-AC7DCC2F0CDC}" type="datetime'''T''''''ü''''''''r''''k Li''''''''''r''''''a''s''''ı'''">
              <a:rPr lang="en-US" sz="1600">
                <a:latin typeface="Times New Roman"/>
                <a:cs typeface="Times New Roman"/>
                <a:sym typeface="Times New Roman"/>
              </a:rPr>
              <a:pPr/>
              <a:t>Türk Lirası</a:t>
            </a:fld>
            <a:endParaRPr lang="tr-TR" sz="1600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6" name="Metin Yer Tutucusu 6"/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1747838" y="1763713"/>
            <a:ext cx="481013" cy="244475"/>
          </a:xfrm>
          <a:prstGeom prst="rect">
            <a:avLst/>
          </a:prstGeom>
          <a:solidFill>
            <a:schemeClr val="hlink"/>
          </a:solidFill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8A82580-6114-49A4-9002-03D3DB19674D}" type="datetime'''''4,''''''''''4''''''%'''''''''''''">
              <a:rPr lang="en-US" altLang="en-US" sz="1600">
                <a:solidFill>
                  <a:schemeClr val="bg1"/>
                </a:solidFill>
                <a:latin typeface="Times New Roman"/>
                <a:cs typeface="Times New Roman"/>
                <a:sym typeface="Times New Roman"/>
              </a:rPr>
              <a:pPr/>
              <a:t>4,4%</a:t>
            </a:fld>
            <a:endParaRPr lang="tr-TR" sz="1600" dirty="0">
              <a:solidFill>
                <a:schemeClr val="bg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8" name="Metin Yer Tutucusu 8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419100" y="2809875"/>
            <a:ext cx="395288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50184982-177A-4E57-B9EB-BC2B610BF605}" type="datetime'''''''E''''''''''''''''''''''''''''''''u''''''''''''''ro'''''">
              <a:rPr lang="en-US" sz="1600">
                <a:latin typeface="Times New Roman"/>
                <a:cs typeface="Times New Roman"/>
                <a:sym typeface="Times New Roman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Euro</a:t>
            </a:fld>
            <a:endParaRPr lang="tr-TR" sz="1600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3" name="Metin Yer Tutucusu 4"/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3063875" y="3255963"/>
            <a:ext cx="582613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B07B6CA-6A99-4615-81D9-21CD70AA70E8}" type="datetime'''''''''''5''8'',9''''''''''%'''''''''''''''''''">
              <a:rPr lang="en-US" altLang="en-US" sz="1600">
                <a:solidFill>
                  <a:schemeClr val="bg1"/>
                </a:solidFill>
                <a:latin typeface="Times New Roman"/>
                <a:cs typeface="Times New Roman"/>
                <a:sym typeface="Times New Roman"/>
              </a:rPr>
              <a:pPr/>
              <a:t>58,9%</a:t>
            </a:fld>
            <a:endParaRPr lang="tr-TR" sz="1600" dirty="0">
              <a:solidFill>
                <a:schemeClr val="bg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5" name="Metin Yer Tutucusu 5"/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871538" y="2849563"/>
            <a:ext cx="582613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3A52B33-A16C-4462-80A3-3836A0F32A89}" type="datetime'''''''''''''35'''''''''''''''',''''''''''0''''''''''''''%'">
              <a:rPr lang="en-US" altLang="en-US" sz="1600">
                <a:latin typeface="Times New Roman"/>
                <a:cs typeface="Times New Roman"/>
                <a:sym typeface="Times New Roman"/>
              </a:rPr>
              <a:pPr/>
              <a:t>35,0%</a:t>
            </a:fld>
            <a:endParaRPr lang="tr-TR" sz="1600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7" name="Metin Yer Tutucusu 7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3398838" y="4003675"/>
            <a:ext cx="998538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F0F30944-8E27-4420-8CD0-479CF90D59AE}" type="datetime'''''''''A''B''D'''' ''D''o''''''l''''''''''a''''''''''rı'">
              <a:rPr lang="en-US" sz="1600">
                <a:latin typeface="Times New Roman"/>
                <a:cs typeface="Times New Roman"/>
                <a:sym typeface="Times New Roman"/>
              </a:rPr>
              <a:pPr/>
              <a:t>ABD Doları</a:t>
            </a:fld>
            <a:endParaRPr lang="tr-TR" sz="1600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1" name="Metin Yer Tutucusu 10"/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1992313" y="2008188"/>
            <a:ext cx="481013" cy="244475"/>
          </a:xfrm>
          <a:prstGeom prst="rect">
            <a:avLst/>
          </a:prstGeom>
          <a:solidFill>
            <a:srgbClr val="FDC70B"/>
          </a:solidFill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4B04DC4-DA0B-4949-B331-983D9FFAB202}" type="datetime'''1'''''',''''7''''''''''''''''%'''''''''''''''''''''''''''''">
              <a:rPr lang="en-US" altLang="en-US" sz="1600">
                <a:latin typeface="Times New Roman"/>
                <a:cs typeface="Times New Roman"/>
                <a:sym typeface="Times New Roman"/>
              </a:rPr>
              <a:pPr/>
              <a:t>1,7%</a:t>
            </a:fld>
            <a:endParaRPr lang="tr-TR" sz="1600" dirty="0">
              <a:latin typeface="Times New Roman"/>
              <a:cs typeface="Times New Roman"/>
              <a:sym typeface="Times New Roman"/>
            </a:endParaRPr>
          </a:p>
        </p:txBody>
      </p:sp>
      <p:graphicFrame>
        <p:nvGraphicFramePr>
          <p:cNvPr id="13" name="Nesne 12"/>
          <p:cNvGraphicFramePr>
            <a:graphicFrameLocks/>
          </p:cNvGraphicFramePr>
          <p:nvPr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644311754"/>
              </p:ext>
            </p:extLst>
          </p:nvPr>
        </p:nvGraphicFramePr>
        <p:xfrm>
          <a:off x="5562600" y="1473201"/>
          <a:ext cx="3079624" cy="30732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8" name="Çizelge" r:id="rId27" imgW="3079624" imgH="3073215" progId="MSGraph.Chart.8">
                  <p:embed followColorScheme="full"/>
                </p:oleObj>
              </mc:Choice>
              <mc:Fallback>
                <p:oleObj name="Çizelge" r:id="rId27" imgW="3079624" imgH="3073215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8"/>
                      <a:stretch>
                        <a:fillRect/>
                      </a:stretch>
                    </p:blipFill>
                    <p:spPr>
                      <a:xfrm>
                        <a:off x="5562600" y="1473201"/>
                        <a:ext cx="3079624" cy="30732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Metin Yer Tutucusu 9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4768850" y="2351088"/>
            <a:ext cx="922338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CFDFBD34-AF4B-4A93-8794-40C7457924FE}" type="datetime'''''Tü''''''''r''''k'''''''' ''''''''Li''''''''''''''r''ası'">
              <a:rPr lang="en-US" sz="1600">
                <a:latin typeface="Times New Roman"/>
                <a:cs typeface="Times New Roman"/>
                <a:sym typeface="Times New Roman"/>
              </a:rPr>
              <a:pPr/>
              <a:t>Türk Lirası</a:t>
            </a:fld>
            <a:endParaRPr lang="tr-TR" sz="1600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7" name="Metin Yer Tutucusu 4"/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7954963" y="2971800"/>
            <a:ext cx="582613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DF783D6-2B27-46FC-A86A-01CDF570DC41}" type="datetime'''''''''''''''''''''52'''''',''''''''''4''''''''%'''''''''''''">
              <a:rPr lang="en-US" altLang="en-US" sz="1600">
                <a:solidFill>
                  <a:schemeClr val="bg1"/>
                </a:solidFill>
                <a:latin typeface="Times New Roman"/>
                <a:cs typeface="Times New Roman"/>
                <a:sym typeface="Times New Roman"/>
              </a:rPr>
              <a:pPr/>
              <a:t>52,4%</a:t>
            </a:fld>
            <a:endParaRPr lang="tr-TR" sz="1600" dirty="0">
              <a:solidFill>
                <a:schemeClr val="bg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9" name="Metin Yer Tutucusu 5"/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5878513" y="3506788"/>
            <a:ext cx="582613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AD5C67D-FBC6-488A-960C-FF429771B242}" type="datetime'2''''''''''''6'''''''''''''',''''''''5''''''''''''''''''%'''''">
              <a:rPr lang="en-US" altLang="en-US" sz="1600">
                <a:latin typeface="Times New Roman"/>
                <a:cs typeface="Times New Roman"/>
                <a:sym typeface="Times New Roman"/>
              </a:rPr>
              <a:pPr/>
              <a:t>26,5%</a:t>
            </a:fld>
            <a:endParaRPr lang="tr-TR" sz="1600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21" name="Metin Yer Tutucusu 11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6489700" y="1300163"/>
            <a:ext cx="1227138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78ABB298-995D-45D0-B5D4-4FBF07A1E267}" type="datetime'''''Di''ğe''''r'' ''''''''Döv''i''z''''''l''''''''''''''er'">
              <a:rPr lang="en-US" sz="1600">
                <a:latin typeface="Times New Roman"/>
                <a:cs typeface="Times New Roman"/>
                <a:sym typeface="Times New Roman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Diğer Dövizler</a:t>
            </a:fld>
            <a:endParaRPr lang="tr-TR" sz="1600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8" name="Metin Yer Tutucusu 7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7961313" y="4194175"/>
            <a:ext cx="998538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72540A51-B235-4B5E-B06E-4E58746D27C3}" type="datetime'''''''''''''''A''''B''D'''''''''' ''D''ol''''''a''''rı'''''''">
              <a:rPr lang="en-US" sz="1600">
                <a:latin typeface="Times New Roman"/>
                <a:cs typeface="Times New Roman"/>
                <a:sym typeface="Times New Roman"/>
              </a:rPr>
              <a:pPr/>
              <a:t>ABD Doları</a:t>
            </a:fld>
            <a:endParaRPr lang="tr-TR" sz="1600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20" name="Metin Yer Tutucusu 10"/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6864350" y="1609725"/>
            <a:ext cx="481013" cy="244475"/>
          </a:xfrm>
          <a:prstGeom prst="rect">
            <a:avLst/>
          </a:prstGeom>
          <a:solidFill>
            <a:srgbClr val="FDC70B"/>
          </a:solidFill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05BB13C-5A4F-4FB7-881B-4CBF22009344}" type="datetime'''''''0,''''''''''''''''''''''''1''''''''''''''''''''%'''">
              <a:rPr lang="en-US" altLang="en-US" sz="1600">
                <a:latin typeface="Times New Roman"/>
                <a:cs typeface="Times New Roman"/>
                <a:sym typeface="Times New Roman"/>
              </a:rPr>
              <a:pPr/>
              <a:t>0,1%</a:t>
            </a:fld>
            <a:endParaRPr lang="tr-TR" sz="1600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6" name="Metin Yer Tutucusu 8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5462588" y="3786188"/>
            <a:ext cx="395288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1DF2A60F-5A2F-485E-B5E5-CA63B8C71AD6}" type="datetime'''''''''''''E''''''''''''u''''r''''o'''''''">
              <a:rPr lang="en-US" sz="1600">
                <a:latin typeface="Times New Roman"/>
                <a:cs typeface="Times New Roman"/>
                <a:sym typeface="Times New Roman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Euro</a:t>
            </a:fld>
            <a:endParaRPr lang="tr-TR" sz="1600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4" name="Metin Yer Tutucusu 6"/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6108700" y="1979613"/>
            <a:ext cx="582613" cy="244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hemeClr val="hlink"/>
                </a:solidFill>
              </a14:hiddenFill>
            </a:ext>
          </a:extLst>
        </p:spPr>
        <p:txBody>
          <a:bodyPr vert="horz" wrap="none" lIns="28575" tIns="0" rIns="28575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883D13B-31FC-40F5-B661-C1C111C6A1E4}" type="datetime'''''2''1'''''',''''''''''''''''''''''''0%'''''''''''''''">
              <a:rPr lang="en-US" altLang="en-US" sz="1600">
                <a:solidFill>
                  <a:schemeClr val="bg1"/>
                </a:solidFill>
                <a:latin typeface="Times New Roman"/>
                <a:cs typeface="Times New Roman"/>
                <a:sym typeface="Times New Roman"/>
              </a:rPr>
              <a:pPr/>
              <a:t>21,0%</a:t>
            </a:fld>
            <a:endParaRPr lang="tr-TR" sz="1600" dirty="0">
              <a:solidFill>
                <a:schemeClr val="bg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22" name="Metin kutusu 21"/>
          <p:cNvSpPr txBox="1"/>
          <p:nvPr/>
        </p:nvSpPr>
        <p:spPr>
          <a:xfrm>
            <a:off x="343693" y="858691"/>
            <a:ext cx="4112361" cy="338554"/>
          </a:xfrm>
          <a:prstGeom prst="rect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/>
          <a:p>
            <a:pPr algn="ctr"/>
            <a:r>
              <a:rPr lang="tr-TR" sz="1600" b="1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Uzun vadeli kredilerin döviz kompozisyonu</a:t>
            </a:r>
            <a:endParaRPr lang="tr-TR" sz="1600" b="1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3" name="Metin kutusu 22"/>
          <p:cNvSpPr txBox="1"/>
          <p:nvPr/>
        </p:nvSpPr>
        <p:spPr>
          <a:xfrm>
            <a:off x="4914899" y="838200"/>
            <a:ext cx="4112361" cy="338554"/>
          </a:xfrm>
          <a:prstGeom prst="rect">
            <a:avLst/>
          </a:prstGeom>
          <a:solidFill>
            <a:srgbClr val="002060"/>
          </a:solidFill>
        </p:spPr>
        <p:txBody>
          <a:bodyPr wrap="square" rtlCol="0">
            <a:spAutoFit/>
          </a:bodyPr>
          <a:lstStyle/>
          <a:p>
            <a:pPr algn="ctr"/>
            <a:r>
              <a:rPr lang="tr-TR" sz="1600" b="1" dirty="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Kısa vadeli kredilerin döviz kompozisyonu</a:t>
            </a:r>
            <a:endParaRPr lang="tr-TR" sz="1600" b="1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24" name="Dikdörtgen 23"/>
          <p:cNvSpPr/>
          <p:nvPr/>
        </p:nvSpPr>
        <p:spPr>
          <a:xfrm>
            <a:off x="228600" y="703263"/>
            <a:ext cx="4381394" cy="4021137"/>
          </a:xfrm>
          <a:prstGeom prst="rect">
            <a:avLst/>
          </a:prstGeom>
          <a:noFill/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  <p:sp>
        <p:nvSpPr>
          <p:cNvPr id="25" name="Dikdörtgen 24"/>
          <p:cNvSpPr/>
          <p:nvPr/>
        </p:nvSpPr>
        <p:spPr>
          <a:xfrm>
            <a:off x="4719639" y="710406"/>
            <a:ext cx="4576762" cy="4021137"/>
          </a:xfrm>
          <a:prstGeom prst="rect">
            <a:avLst/>
          </a:prstGeom>
          <a:noFill/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95628501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Nesne 2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3023617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10" name="think-cell Slide" r:id="rId80" imgW="416" imgH="416" progId="TCLayout.ActiveDocument.1">
                  <p:embed/>
                </p:oleObj>
              </mc:Choice>
              <mc:Fallback>
                <p:oleObj name="think-cell Slide" r:id="rId80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ikdörtgen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tr-TR" sz="1500" b="1" dirty="0">
              <a:latin typeface="Times New Roman"/>
              <a:cs typeface="Times New Roman"/>
              <a:sym typeface="Times New Roman"/>
            </a:endParaRPr>
          </a:p>
        </p:txBody>
      </p:sp>
      <p:graphicFrame>
        <p:nvGraphicFramePr>
          <p:cNvPr id="4" name="Nesne 3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678081807"/>
              </p:ext>
            </p:extLst>
          </p:nvPr>
        </p:nvGraphicFramePr>
        <p:xfrm>
          <a:off x="152400" y="1219201"/>
          <a:ext cx="9144000" cy="341611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11" name="Çizelge" r:id="rId82" imgW="9144000" imgH="3416115" progId="MSGraph.Chart.8">
                  <p:embed followColorScheme="full"/>
                </p:oleObj>
              </mc:Choice>
              <mc:Fallback>
                <p:oleObj name="Çizelge" r:id="rId82" imgW="9144000" imgH="3416115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3"/>
                      <a:stretch>
                        <a:fillRect/>
                      </a:stretch>
                    </p:blipFill>
                    <p:spPr>
                      <a:xfrm>
                        <a:off x="152400" y="1219201"/>
                        <a:ext cx="9144000" cy="341611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9" name="Düz Bağlayıcı 28"/>
          <p:cNvCxnSpPr/>
          <p:nvPr>
            <p:custDataLst>
              <p:tags r:id="rId5"/>
            </p:custDataLst>
          </p:nvPr>
        </p:nvCxnSpPr>
        <p:spPr bwMode="auto">
          <a:xfrm>
            <a:off x="7321550" y="1600200"/>
            <a:ext cx="0" cy="34925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Düz Bağlayıcı 6"/>
          <p:cNvCxnSpPr/>
          <p:nvPr>
            <p:custDataLst>
              <p:tags r:id="rId6"/>
            </p:custDataLst>
          </p:nvPr>
        </p:nvCxnSpPr>
        <p:spPr bwMode="auto">
          <a:xfrm>
            <a:off x="5765800" y="1600200"/>
            <a:ext cx="0" cy="34925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Düz Bağlayıcı 10"/>
          <p:cNvCxnSpPr/>
          <p:nvPr>
            <p:custDataLst>
              <p:tags r:id="rId7"/>
            </p:custDataLst>
          </p:nvPr>
        </p:nvCxnSpPr>
        <p:spPr bwMode="auto">
          <a:xfrm>
            <a:off x="4203700" y="1600199"/>
            <a:ext cx="0" cy="38100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Düz Bağlayıcı 4"/>
          <p:cNvCxnSpPr/>
          <p:nvPr>
            <p:custDataLst>
              <p:tags r:id="rId8"/>
            </p:custDataLst>
          </p:nvPr>
        </p:nvCxnSpPr>
        <p:spPr bwMode="auto">
          <a:xfrm flipV="1">
            <a:off x="292100" y="1635125"/>
            <a:ext cx="109538" cy="104775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Düz Bağlayıcı 13"/>
          <p:cNvCxnSpPr/>
          <p:nvPr>
            <p:custDataLst>
              <p:tags r:id="rId9"/>
            </p:custDataLst>
          </p:nvPr>
        </p:nvCxnSpPr>
        <p:spPr bwMode="auto">
          <a:xfrm>
            <a:off x="8362950" y="1600200"/>
            <a:ext cx="0" cy="31750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Düz Bağlayıcı 21"/>
          <p:cNvCxnSpPr/>
          <p:nvPr>
            <p:custDataLst>
              <p:tags r:id="rId10"/>
            </p:custDataLst>
          </p:nvPr>
        </p:nvCxnSpPr>
        <p:spPr bwMode="auto">
          <a:xfrm>
            <a:off x="6804025" y="1600200"/>
            <a:ext cx="0" cy="34925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Düz Bağlayıcı 5"/>
          <p:cNvCxnSpPr/>
          <p:nvPr>
            <p:custDataLst>
              <p:tags r:id="rId11"/>
            </p:custDataLst>
          </p:nvPr>
        </p:nvCxnSpPr>
        <p:spPr bwMode="auto">
          <a:xfrm>
            <a:off x="3683000" y="1600199"/>
            <a:ext cx="0" cy="38100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8" name="Düz Bağlayıcı 257"/>
          <p:cNvCxnSpPr/>
          <p:nvPr>
            <p:custDataLst>
              <p:tags r:id="rId12"/>
            </p:custDataLst>
          </p:nvPr>
        </p:nvCxnSpPr>
        <p:spPr bwMode="auto">
          <a:xfrm>
            <a:off x="7842250" y="1600200"/>
            <a:ext cx="0" cy="34925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0" name="Düz Bağlayıcı 199"/>
          <p:cNvCxnSpPr/>
          <p:nvPr>
            <p:custDataLst>
              <p:tags r:id="rId13"/>
            </p:custDataLst>
          </p:nvPr>
        </p:nvCxnSpPr>
        <p:spPr bwMode="auto">
          <a:xfrm>
            <a:off x="3162300" y="1600200"/>
            <a:ext cx="0" cy="34925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4" name="Düz Bağlayıcı 193"/>
          <p:cNvCxnSpPr/>
          <p:nvPr>
            <p:custDataLst>
              <p:tags r:id="rId14"/>
            </p:custDataLst>
          </p:nvPr>
        </p:nvCxnSpPr>
        <p:spPr bwMode="auto">
          <a:xfrm>
            <a:off x="2644775" y="1600200"/>
            <a:ext cx="0" cy="31750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Düz Bağlayıcı 105"/>
          <p:cNvCxnSpPr/>
          <p:nvPr>
            <p:custDataLst>
              <p:tags r:id="rId15"/>
            </p:custDataLst>
          </p:nvPr>
        </p:nvCxnSpPr>
        <p:spPr bwMode="auto">
          <a:xfrm>
            <a:off x="565150" y="1600200"/>
            <a:ext cx="0" cy="34925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Düz Bağlayıcı 22"/>
          <p:cNvCxnSpPr/>
          <p:nvPr>
            <p:custDataLst>
              <p:tags r:id="rId16"/>
            </p:custDataLst>
          </p:nvPr>
        </p:nvCxnSpPr>
        <p:spPr bwMode="auto">
          <a:xfrm flipH="1">
            <a:off x="9080500" y="1625600"/>
            <a:ext cx="203200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Düz Bağlayıcı 9"/>
          <p:cNvCxnSpPr/>
          <p:nvPr>
            <p:custDataLst>
              <p:tags r:id="rId17"/>
            </p:custDataLst>
          </p:nvPr>
        </p:nvCxnSpPr>
        <p:spPr bwMode="auto">
          <a:xfrm>
            <a:off x="6286500" y="1600200"/>
            <a:ext cx="0" cy="34925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9" name="Düz Bağlayıcı 188"/>
          <p:cNvCxnSpPr/>
          <p:nvPr>
            <p:custDataLst>
              <p:tags r:id="rId18"/>
            </p:custDataLst>
          </p:nvPr>
        </p:nvCxnSpPr>
        <p:spPr bwMode="auto">
          <a:xfrm>
            <a:off x="2127250" y="1600199"/>
            <a:ext cx="0" cy="31750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Düz Bağlayıcı 7"/>
          <p:cNvCxnSpPr/>
          <p:nvPr>
            <p:custDataLst>
              <p:tags r:id="rId19"/>
            </p:custDataLst>
          </p:nvPr>
        </p:nvCxnSpPr>
        <p:spPr bwMode="auto">
          <a:xfrm>
            <a:off x="4724400" y="1600199"/>
            <a:ext cx="0" cy="38100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4" name="Düz Bağlayıcı 183"/>
          <p:cNvCxnSpPr/>
          <p:nvPr>
            <p:custDataLst>
              <p:tags r:id="rId20"/>
            </p:custDataLst>
          </p:nvPr>
        </p:nvCxnSpPr>
        <p:spPr bwMode="auto">
          <a:xfrm>
            <a:off x="1606550" y="1600199"/>
            <a:ext cx="0" cy="31750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9" name="Düz Bağlayıcı 178"/>
          <p:cNvCxnSpPr/>
          <p:nvPr>
            <p:custDataLst>
              <p:tags r:id="rId21"/>
            </p:custDataLst>
          </p:nvPr>
        </p:nvCxnSpPr>
        <p:spPr bwMode="auto">
          <a:xfrm>
            <a:off x="1085850" y="1600201"/>
            <a:ext cx="0" cy="34925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Düz Bağlayıcı 8"/>
          <p:cNvCxnSpPr/>
          <p:nvPr>
            <p:custDataLst>
              <p:tags r:id="rId22"/>
            </p:custDataLst>
          </p:nvPr>
        </p:nvCxnSpPr>
        <p:spPr bwMode="auto">
          <a:xfrm>
            <a:off x="5245100" y="1600200"/>
            <a:ext cx="0" cy="34925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Düz Bağlayıcı 12"/>
          <p:cNvCxnSpPr/>
          <p:nvPr>
            <p:custDataLst>
              <p:tags r:id="rId23"/>
            </p:custDataLst>
          </p:nvPr>
        </p:nvCxnSpPr>
        <p:spPr bwMode="auto">
          <a:xfrm>
            <a:off x="8883650" y="1600200"/>
            <a:ext cx="0" cy="31750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8" name="Metin Yer Tutucusu 196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-544513" y="3765550"/>
            <a:ext cx="811213" cy="228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3C4A6D03-429E-4B17-A707-C94AFFD3413D}" type="datetime'H''''i''''''''''''z''''m''''''''e''''''t''''l''e''r'''''">
              <a:rPr lang="en-US" sz="1500" b="1">
                <a:latin typeface="Times New Roman"/>
                <a:cs typeface="Times New Roman"/>
                <a:sym typeface="Times New Roman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Hizmetler</a:t>
            </a:fld>
            <a:endParaRPr lang="tr-TR" sz="15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74" name="Metin Yer Tutucusu 2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8089900" y="3533775"/>
            <a:ext cx="546100" cy="228600"/>
          </a:xfrm>
          <a:prstGeom prst="rect">
            <a:avLst/>
          </a:prstGeom>
          <a:solidFill>
            <a:srgbClr val="BBCAFB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CC4AD1C-EBAE-45E5-A4A1-B9DED01D4122}" type="datetime'''''''58'''',''''''''''4%'">
              <a:rPr lang="tr-TR" altLang="en-US" sz="1500">
                <a:latin typeface="Times New Roman"/>
                <a:cs typeface="Times New Roman"/>
                <a:sym typeface="Times New Roman"/>
              </a:rPr>
              <a:pPr/>
              <a:t>58,4%</a:t>
            </a:fld>
            <a:endParaRPr lang="tr-TR" sz="1500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287" name="Metin Yer Tutucusu 195"/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-284163" y="2346325"/>
            <a:ext cx="550863" cy="228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2C22178-DEAB-4EC4-907A-6B26C24DD805}" type="datetime'''''''''S''''''a''''''''''n''''ay''''''''i'''''''''''''">
              <a:rPr lang="en-US" sz="1500" b="1">
                <a:latin typeface="Times New Roman"/>
                <a:cs typeface="Times New Roman"/>
                <a:sym typeface="Times New Roman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Sanayi</a:t>
            </a:fld>
            <a:endParaRPr lang="tr-TR" sz="15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286" name="Metin Yer Tutucusu 194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-233363" y="1625600"/>
            <a:ext cx="500063" cy="228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188E5EB-B5F7-47BA-A15C-A5E7BA6E7B46}" type="datetime'''''''''T''''''''a''''''''r''''''''''''ı''''''''''''''''m'''">
              <a:rPr lang="en-US" sz="1500" b="1">
                <a:latin typeface="Times New Roman"/>
                <a:cs typeface="Times New Roman"/>
                <a:sym typeface="Times New Roman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Tarım</a:t>
            </a:fld>
            <a:endParaRPr lang="tr-TR" sz="15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75" name="Metin Yer Tutucusu 2"/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8089900" y="2111375"/>
            <a:ext cx="546100" cy="228600"/>
          </a:xfrm>
          <a:prstGeom prst="rect">
            <a:avLst/>
          </a:prstGeom>
          <a:solidFill>
            <a:srgbClr val="C30C3E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4D56688-99FF-49DA-B0FC-AA47A110EE32}" type="datetime'''''''''''''''''''4''''1'''''''''''''',1%'''''">
              <a:rPr lang="tr-TR" altLang="en-US" sz="1500">
                <a:solidFill>
                  <a:schemeClr val="bg1"/>
                </a:solidFill>
                <a:latin typeface="Times New Roman"/>
                <a:cs typeface="Times New Roman"/>
                <a:sym typeface="Times New Roman"/>
              </a:rPr>
              <a:pPr/>
              <a:t>41,1%</a:t>
            </a:fld>
            <a:endParaRPr lang="tr-TR" sz="1500" dirty="0">
              <a:solidFill>
                <a:schemeClr val="bg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09" name="Metin Yer Tutucusu 193"/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7613650" y="4594225"/>
            <a:ext cx="457200" cy="45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2F9DDD3-2A5A-41FC-9A31-52A40C8922C3}" type="datetime'''''''''20''''''''''1''7''''''''''''''-''''''Q''''''''2'">
              <a:rPr lang="tr-TR" altLang="en-US" sz="1500" b="1">
                <a:latin typeface="Times New Roman"/>
                <a:cs typeface="Times New Roman"/>
                <a:sym typeface="Times New Roman"/>
              </a:rPr>
              <a:pPr/>
              <a:t>2017-Q2</a:t>
            </a:fld>
            <a:endParaRPr lang="tr-TR" sz="15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73" name="Metin Yer Tutucusu 193"/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8134350" y="4594225"/>
            <a:ext cx="457200" cy="45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F33C047-E8CD-4CCE-A79C-EB976D129EBB}" type="datetime'20''''''''17''''''-''''''''''''''Q3'''''">
              <a:rPr lang="tr-TR" altLang="en-US" sz="1500" b="1">
                <a:latin typeface="Times New Roman"/>
                <a:cs typeface="Times New Roman"/>
                <a:sym typeface="Times New Roman"/>
              </a:rPr>
              <a:pPr/>
              <a:t>2017-Q3</a:t>
            </a:fld>
            <a:endParaRPr lang="tr-TR" sz="15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2" name="Metin Yer Tutucusu 12"/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9334500" y="1511300"/>
            <a:ext cx="444500" cy="228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A775420-403B-4B50-BAC6-D511A3660DD3}" type="datetime'''''''''''''''''''''''''''''''''''''10''''''''''0%'''''''''''">
              <a:rPr lang="en-US" sz="1500">
                <a:latin typeface="Times New Roman"/>
                <a:cs typeface="Times New Roman"/>
                <a:sym typeface="Times New Roman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00%</a:t>
            </a:fld>
            <a:endParaRPr lang="tr-TR" sz="1500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92" name="Metin Yer Tutucusu 193"/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6607175" y="4594225"/>
            <a:ext cx="393700" cy="228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10E5283-CC69-43D9-8364-23B1BABE3873}" type="datetime'''''''2''''''''''''''''01''''''6'''''''''''''''''''''">
              <a:rPr lang="tr-TR" altLang="en-US" sz="1500" b="1">
                <a:latin typeface="Times New Roman"/>
                <a:cs typeface="Times New Roman"/>
                <a:sym typeface="Times New Roman"/>
              </a:rPr>
              <a:pPr/>
              <a:t>2016</a:t>
            </a:fld>
            <a:endParaRPr lang="tr-TR" sz="15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08" name="Metin Yer Tutucusu 193"/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7092950" y="4594225"/>
            <a:ext cx="457200" cy="45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7BC1360-C397-48E3-B9CA-3C992F31AEBE}" type="datetime'''''''''2''''''0''17''''''''''-''''''''''''Q''''''''1'''''">
              <a:rPr lang="tr-TR" altLang="en-US" sz="1500" b="1">
                <a:latin typeface="Times New Roman"/>
                <a:cs typeface="Times New Roman"/>
                <a:sym typeface="Times New Roman"/>
              </a:rPr>
              <a:pPr/>
              <a:t>2017-Q1</a:t>
            </a:fld>
            <a:endParaRPr lang="tr-TR" sz="15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71" name="Metin Yer Tutucusu 193"/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5568950" y="4594225"/>
            <a:ext cx="393700" cy="228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6F195AD-15F4-4C72-BA34-C06F639BB3EE}" type="datetime'''''2''''''''''0''''''''''''''''''''1''''''4'''''''''">
              <a:rPr lang="tr-TR" altLang="en-US" sz="1500" b="1">
                <a:latin typeface="Times New Roman"/>
                <a:cs typeface="Times New Roman"/>
                <a:sym typeface="Times New Roman"/>
              </a:rPr>
              <a:pPr/>
              <a:t>2014</a:t>
            </a:fld>
            <a:endParaRPr lang="tr-TR" sz="15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10" name="Metin Yer Tutucusu 2"/>
          <p:cNvSpPr>
            <a:spLocks noGrp="1"/>
          </p:cNvSpPr>
          <p:nvPr>
            <p:custDataLst>
              <p:tags r:id="rId35"/>
            </p:custDataLst>
          </p:nvPr>
        </p:nvSpPr>
        <p:spPr bwMode="gray">
          <a:xfrm>
            <a:off x="7048500" y="3540125"/>
            <a:ext cx="546100" cy="228600"/>
          </a:xfrm>
          <a:prstGeom prst="rect">
            <a:avLst/>
          </a:prstGeom>
          <a:solidFill>
            <a:srgbClr val="BBCAFB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31B9512-17C2-46C5-BD7C-E6C0A4212C95}" type="datetime'''5''''''8'',''''''''''''''0''''''''''''''''''%'''''''''">
              <a:rPr lang="tr-TR" altLang="en-US" sz="1500">
                <a:latin typeface="Times New Roman"/>
                <a:cs typeface="Times New Roman"/>
                <a:sym typeface="Times New Roman"/>
              </a:rPr>
              <a:pPr/>
              <a:t>58,0%</a:t>
            </a:fld>
            <a:endParaRPr lang="tr-TR" sz="1500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01" name="Metin Yer Tutucusu 2"/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6530975" y="3540125"/>
            <a:ext cx="546100" cy="228600"/>
          </a:xfrm>
          <a:prstGeom prst="rect">
            <a:avLst/>
          </a:prstGeom>
          <a:solidFill>
            <a:srgbClr val="BBCAFB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D083EE8-F58A-4C75-935B-4503835B9359}" type="datetime'''''''''5''8'''''',''''''''''1''''''''''''''%'''''''''''">
              <a:rPr lang="tr-TR" altLang="en-US" sz="1500">
                <a:latin typeface="Times New Roman"/>
                <a:cs typeface="Times New Roman"/>
                <a:sym typeface="Times New Roman"/>
              </a:rPr>
              <a:pPr/>
              <a:t>58,1%</a:t>
            </a:fld>
            <a:endParaRPr lang="tr-TR" sz="1500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85" name="Metin Yer Tutucusu 2"/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6013450" y="2149475"/>
            <a:ext cx="546100" cy="228600"/>
          </a:xfrm>
          <a:prstGeom prst="rect">
            <a:avLst/>
          </a:prstGeom>
          <a:solidFill>
            <a:srgbClr val="C30C3E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1515D5D-5B05-47E0-B052-383EC2BCB9A3}" type="datetime'''4''''''3'',''''''''''''''''''''''''''''''5''''''%'''''''''''">
              <a:rPr lang="tr-TR" altLang="en-US" sz="1500">
                <a:solidFill>
                  <a:schemeClr val="bg1"/>
                </a:solidFill>
                <a:latin typeface="Times New Roman"/>
                <a:cs typeface="Times New Roman"/>
                <a:sym typeface="Times New Roman"/>
              </a:rPr>
              <a:pPr/>
              <a:t>43,5%</a:t>
            </a:fld>
            <a:endParaRPr lang="tr-TR" sz="1500" dirty="0">
              <a:solidFill>
                <a:schemeClr val="bg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84" name="Metin Yer Tutucusu 2"/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6013450" y="3568700"/>
            <a:ext cx="546100" cy="228600"/>
          </a:xfrm>
          <a:prstGeom prst="rect">
            <a:avLst/>
          </a:prstGeom>
          <a:solidFill>
            <a:srgbClr val="BBCAFB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29797BE-0D53-4718-AA56-E322D0D57380}" type="datetime'''''''''''5''''''5'''''',''''''9''''''''''''''''''''''%'">
              <a:rPr lang="tr-TR" altLang="en-US" sz="1500">
                <a:latin typeface="Times New Roman"/>
                <a:cs typeface="Times New Roman"/>
                <a:sym typeface="Times New Roman"/>
              </a:rPr>
              <a:pPr/>
              <a:t>55,9%</a:t>
            </a:fld>
            <a:endParaRPr lang="tr-TR" sz="1500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72" name="Metin Yer Tutucusu 193"/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6089650" y="4594225"/>
            <a:ext cx="393700" cy="228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796B690-1BE5-4309-BD9A-6AB32F2EA75D}" type="datetime'''''''''''''''''''''''''''''2''''0''''''1''''''''5'''''''''">
              <a:rPr lang="tr-TR" altLang="en-US" sz="1500" b="1">
                <a:latin typeface="Times New Roman"/>
                <a:cs typeface="Times New Roman"/>
                <a:sym typeface="Times New Roman"/>
              </a:rPr>
              <a:pPr/>
              <a:t>2015</a:t>
            </a:fld>
            <a:endParaRPr lang="tr-TR" sz="15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78" name="Metin Yer Tutucusu 2"/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5492750" y="3622675"/>
            <a:ext cx="546100" cy="228600"/>
          </a:xfrm>
          <a:prstGeom prst="rect">
            <a:avLst/>
          </a:prstGeom>
          <a:solidFill>
            <a:srgbClr val="BBCAFB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221DFBF-E0B1-4901-A4DF-C02CAA556FEF}" type="datetime'''''''''''''52'''''''',''''''''''''''''''''''''1''''%'">
              <a:rPr lang="tr-TR" altLang="en-US" sz="1500">
                <a:latin typeface="Times New Roman"/>
                <a:cs typeface="Times New Roman"/>
                <a:sym typeface="Times New Roman"/>
              </a:rPr>
              <a:pPr/>
              <a:t>52,1%</a:t>
            </a:fld>
            <a:endParaRPr lang="tr-TR" sz="1500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79" name="Metin Yer Tutucusu 2"/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5492750" y="2203450"/>
            <a:ext cx="546100" cy="228600"/>
          </a:xfrm>
          <a:prstGeom prst="rect">
            <a:avLst/>
          </a:prstGeom>
          <a:solidFill>
            <a:srgbClr val="C30C3E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1255058-4ED5-44B8-81E9-B5B53F5BBAD3}" type="datetime'''''''''47'''''''''''''''',''''''1''''%'''''''''">
              <a:rPr lang="tr-TR" altLang="en-US" sz="1500">
                <a:solidFill>
                  <a:schemeClr val="bg1"/>
                </a:solidFill>
                <a:latin typeface="Times New Roman"/>
                <a:cs typeface="Times New Roman"/>
                <a:sym typeface="Times New Roman"/>
              </a:rPr>
              <a:pPr/>
              <a:t>47,1%</a:t>
            </a:fld>
            <a:endParaRPr lang="tr-TR" sz="1500" dirty="0">
              <a:solidFill>
                <a:schemeClr val="bg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11" name="Metin Yer Tutucusu 2"/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7048500" y="2120900"/>
            <a:ext cx="546100" cy="228600"/>
          </a:xfrm>
          <a:prstGeom prst="rect">
            <a:avLst/>
          </a:prstGeom>
          <a:solidFill>
            <a:srgbClr val="C30C3E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70FF2EB-23E4-4A87-AA69-A5850EEDFF26}" type="datetime'4''''''1'''',''4''''''''''''''''''''''''%'">
              <a:rPr lang="tr-TR" altLang="en-US" sz="1500">
                <a:solidFill>
                  <a:schemeClr val="bg1"/>
                </a:solidFill>
                <a:latin typeface="Times New Roman"/>
                <a:cs typeface="Times New Roman"/>
                <a:sym typeface="Times New Roman"/>
              </a:rPr>
              <a:pPr/>
              <a:t>41,4%</a:t>
            </a:fld>
            <a:endParaRPr lang="tr-TR" sz="1500" dirty="0">
              <a:solidFill>
                <a:schemeClr val="bg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81" name="Metin Yer Tutucusu 193"/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5048250" y="4594225"/>
            <a:ext cx="393700" cy="228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86D1F46-AE85-48DD-B511-66D4D25A60AB}" type="datetime'2''''0''''''''''''''''''''''''''''''1''3'''''''''">
              <a:rPr lang="tr-TR" altLang="en-US" sz="1500" b="1">
                <a:latin typeface="Times New Roman"/>
                <a:cs typeface="Times New Roman"/>
                <a:sym typeface="Times New Roman"/>
              </a:rPr>
              <a:pPr/>
              <a:t>2013</a:t>
            </a:fld>
            <a:endParaRPr lang="tr-TR" sz="15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82" name="Metin Yer Tutucusu 2"/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4972050" y="3638550"/>
            <a:ext cx="546100" cy="228600"/>
          </a:xfrm>
          <a:prstGeom prst="rect">
            <a:avLst/>
          </a:prstGeom>
          <a:solidFill>
            <a:srgbClr val="BBCAFB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DED1E62-257D-4B41-985B-4470178E15A4}" type="datetime'''''''''''5''1,''''''''''''''''''''2''''''''''''''''%'''''">
              <a:rPr lang="tr-TR" altLang="en-US" sz="1500">
                <a:latin typeface="Times New Roman"/>
                <a:cs typeface="Times New Roman"/>
                <a:sym typeface="Times New Roman"/>
              </a:rPr>
              <a:pPr/>
              <a:t>51,2%</a:t>
            </a:fld>
            <a:endParaRPr lang="tr-TR" sz="1500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83" name="Metin Yer Tutucusu 2"/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4972050" y="2219325"/>
            <a:ext cx="546100" cy="228600"/>
          </a:xfrm>
          <a:prstGeom prst="rect">
            <a:avLst/>
          </a:prstGeom>
          <a:solidFill>
            <a:srgbClr val="C30C3E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D3EEA0A-F7D2-480C-8ED8-853DCF5D5C54}" type="datetime'''''''''''''''''''''''4''8'''''''''''''''',''1''''''%'''''''''">
              <a:rPr lang="tr-TR" altLang="en-US" sz="1500">
                <a:solidFill>
                  <a:schemeClr val="bg1"/>
                </a:solidFill>
                <a:latin typeface="Times New Roman"/>
                <a:cs typeface="Times New Roman"/>
                <a:sym typeface="Times New Roman"/>
              </a:rPr>
              <a:pPr/>
              <a:t>48,1%</a:t>
            </a:fld>
            <a:endParaRPr lang="tr-TR" sz="1500" dirty="0">
              <a:solidFill>
                <a:schemeClr val="bg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76" name="Metin Yer Tutucusu 193"/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4527550" y="4594225"/>
            <a:ext cx="393700" cy="228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2FD72F3-D9A4-4A42-92A8-29AA841DC83A}" type="datetime'''''''''''''''''''''''''2''''''''''01''2'''''''''''''''">
              <a:rPr lang="tr-TR" altLang="en-US" sz="1500" b="1">
                <a:latin typeface="Times New Roman"/>
                <a:cs typeface="Times New Roman"/>
                <a:sym typeface="Times New Roman"/>
              </a:rPr>
              <a:pPr/>
              <a:t>2012</a:t>
            </a:fld>
            <a:endParaRPr lang="tr-TR" sz="15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12" name="Metin Yer Tutucusu 2"/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7569200" y="3533775"/>
            <a:ext cx="546100" cy="228600"/>
          </a:xfrm>
          <a:prstGeom prst="rect">
            <a:avLst/>
          </a:prstGeom>
          <a:solidFill>
            <a:srgbClr val="BBCAFB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385D085-B3B0-4076-ABA7-A24F9EFDA7E4}" type="datetime'''''''''''''''''''5''8'''''',''''''''''4''''''''''''''%'''''">
              <a:rPr lang="tr-TR" altLang="en-US" sz="1500">
                <a:latin typeface="Times New Roman"/>
                <a:cs typeface="Times New Roman"/>
                <a:sym typeface="Times New Roman"/>
              </a:rPr>
              <a:pPr/>
              <a:t>58,4%</a:t>
            </a:fld>
            <a:endParaRPr lang="tr-TR" sz="1500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80" name="Metin Yer Tutucusu 2"/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4451350" y="3632200"/>
            <a:ext cx="546100" cy="228600"/>
          </a:xfrm>
          <a:prstGeom prst="rect">
            <a:avLst/>
          </a:prstGeom>
          <a:solidFill>
            <a:srgbClr val="BBCAFB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6B5AD10-DDE3-47D2-BC17-31866AA6CA59}" type="datetime'51'',''''''''''''''''''''''''''''''6''''''''''%'''">
              <a:rPr lang="tr-TR" altLang="en-US" sz="1500">
                <a:latin typeface="Times New Roman"/>
                <a:cs typeface="Times New Roman"/>
                <a:sym typeface="Times New Roman"/>
              </a:rPr>
              <a:pPr/>
              <a:t>51,6%</a:t>
            </a:fld>
            <a:endParaRPr lang="tr-TR" sz="1500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77" name="Metin Yer Tutucusu 2"/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4451350" y="2216150"/>
            <a:ext cx="546100" cy="228600"/>
          </a:xfrm>
          <a:prstGeom prst="rect">
            <a:avLst/>
          </a:prstGeom>
          <a:solidFill>
            <a:srgbClr val="C30C3E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7DDB2E2-CCBB-42E9-9BC8-C5B17093CD71}" type="datetime'''4''''''''''''''''''''''''''7'''''''''''''',''''5''''''''''%'">
              <a:rPr lang="tr-TR" altLang="en-US" sz="1500">
                <a:solidFill>
                  <a:schemeClr val="bg1"/>
                </a:solidFill>
                <a:latin typeface="Times New Roman"/>
                <a:cs typeface="Times New Roman"/>
                <a:sym typeface="Times New Roman"/>
              </a:rPr>
              <a:pPr/>
              <a:t>47,5%</a:t>
            </a:fld>
            <a:endParaRPr lang="tr-TR" sz="1500" dirty="0">
              <a:solidFill>
                <a:schemeClr val="bg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02" name="Metin Yer Tutucusu 2"/>
          <p:cNvSpPr>
            <a:spLocks noGrp="1"/>
          </p:cNvSpPr>
          <p:nvPr>
            <p:custDataLst>
              <p:tags r:id="rId50"/>
            </p:custDataLst>
          </p:nvPr>
        </p:nvSpPr>
        <p:spPr bwMode="gray">
          <a:xfrm>
            <a:off x="6530975" y="2120900"/>
            <a:ext cx="546100" cy="228600"/>
          </a:xfrm>
          <a:prstGeom prst="rect">
            <a:avLst/>
          </a:prstGeom>
          <a:solidFill>
            <a:srgbClr val="C30C3E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E6CAB90-25DB-439C-AF92-B2CD555805BB}" type="datetime'''''''''''4''1'''''''''''''''',''3''%'''''''''">
              <a:rPr lang="tr-TR" altLang="en-US" sz="1500">
                <a:solidFill>
                  <a:schemeClr val="bg1"/>
                </a:solidFill>
                <a:latin typeface="Times New Roman"/>
                <a:cs typeface="Times New Roman"/>
                <a:sym typeface="Times New Roman"/>
              </a:rPr>
              <a:pPr/>
              <a:t>41,3%</a:t>
            </a:fld>
            <a:endParaRPr lang="tr-TR" sz="1500" dirty="0">
              <a:solidFill>
                <a:schemeClr val="bg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13" name="Metin Yer Tutucusu 2"/>
          <p:cNvSpPr>
            <a:spLocks noGrp="1"/>
          </p:cNvSpPr>
          <p:nvPr>
            <p:custDataLst>
              <p:tags r:id="rId51"/>
            </p:custDataLst>
          </p:nvPr>
        </p:nvSpPr>
        <p:spPr bwMode="gray">
          <a:xfrm>
            <a:off x="7569200" y="2114550"/>
            <a:ext cx="546100" cy="228600"/>
          </a:xfrm>
          <a:prstGeom prst="rect">
            <a:avLst/>
          </a:prstGeom>
          <a:solidFill>
            <a:srgbClr val="C30C3E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E0FB7B2-2960-47C7-8A4E-1F41C511AB49}" type="datetime'4''''''''1'',0''''''''''''''''''''''''''''''''''''''''''%'''''">
              <a:rPr lang="tr-TR" altLang="en-US" sz="1500">
                <a:solidFill>
                  <a:schemeClr val="bg1"/>
                </a:solidFill>
                <a:latin typeface="Times New Roman"/>
                <a:cs typeface="Times New Roman"/>
                <a:sym typeface="Times New Roman"/>
              </a:rPr>
              <a:pPr/>
              <a:t>41,0%</a:t>
            </a:fld>
            <a:endParaRPr lang="tr-TR" sz="1500" dirty="0">
              <a:solidFill>
                <a:schemeClr val="bg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47" name="Metin Yer Tutucusu 122"/>
          <p:cNvSpPr>
            <a:spLocks noGrp="1"/>
          </p:cNvSpPr>
          <p:nvPr>
            <p:custDataLst>
              <p:tags r:id="rId52"/>
            </p:custDataLst>
          </p:nvPr>
        </p:nvSpPr>
        <p:spPr bwMode="gray">
          <a:xfrm>
            <a:off x="2889250" y="3606800"/>
            <a:ext cx="546100" cy="228600"/>
          </a:xfrm>
          <a:prstGeom prst="rect">
            <a:avLst/>
          </a:prstGeom>
          <a:solidFill>
            <a:srgbClr val="BBCAFB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3EAC1A0-9B7E-42D2-9E11-CFEF5A7861C1}" type="datetime'''''''''5''3'''''''''''''''''''''''''''''''',''''3%'''''''''">
              <a:rPr lang="en-US" altLang="en-US" sz="1500">
                <a:latin typeface="Times New Roman"/>
                <a:cs typeface="Times New Roman"/>
                <a:sym typeface="Times New Roman"/>
              </a:rPr>
              <a:pPr/>
              <a:t>53,3%</a:t>
            </a:fld>
            <a:endParaRPr lang="tr-TR" sz="1500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42" name="Metin Yer Tutucusu 117"/>
          <p:cNvSpPr>
            <a:spLocks noGrp="1"/>
          </p:cNvSpPr>
          <p:nvPr>
            <p:custDataLst>
              <p:tags r:id="rId53"/>
            </p:custDataLst>
          </p:nvPr>
        </p:nvSpPr>
        <p:spPr bwMode="gray">
          <a:xfrm>
            <a:off x="1854200" y="2168525"/>
            <a:ext cx="546100" cy="228600"/>
          </a:xfrm>
          <a:prstGeom prst="rect">
            <a:avLst/>
          </a:prstGeom>
          <a:solidFill>
            <a:srgbClr val="C30C3E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35B0815-0B87-4F00-A99D-FDF1780D8FF4}" type="datetime'45'''''''''''''''''''',''''''''''1''''''%'''''''''''''''''''">
              <a:rPr lang="en-US" altLang="en-US" sz="1500">
                <a:solidFill>
                  <a:schemeClr val="bg1"/>
                </a:solidFill>
                <a:latin typeface="Times New Roman"/>
                <a:cs typeface="Times New Roman"/>
                <a:sym typeface="Times New Roman"/>
              </a:rPr>
              <a:pPr/>
              <a:t>45,1%</a:t>
            </a:fld>
            <a:endParaRPr lang="tr-TR" sz="1500" dirty="0">
              <a:solidFill>
                <a:schemeClr val="bg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45" name="Metin Yer Tutucusu 120"/>
          <p:cNvSpPr>
            <a:spLocks noGrp="1"/>
          </p:cNvSpPr>
          <p:nvPr>
            <p:custDataLst>
              <p:tags r:id="rId54"/>
            </p:custDataLst>
          </p:nvPr>
        </p:nvSpPr>
        <p:spPr bwMode="gray">
          <a:xfrm>
            <a:off x="2371725" y="2174875"/>
            <a:ext cx="546100" cy="228600"/>
          </a:xfrm>
          <a:prstGeom prst="rect">
            <a:avLst/>
          </a:prstGeom>
          <a:solidFill>
            <a:srgbClr val="C30C3E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A51B0E1-ACC8-4B5B-B636-92094CC87AB1}" type="datetime'4''''5'''''''''''''''',''''''''4%'''''''''''''''''">
              <a:rPr lang="en-US" altLang="en-US" sz="1500">
                <a:solidFill>
                  <a:schemeClr val="bg1"/>
                </a:solidFill>
                <a:latin typeface="Times New Roman"/>
                <a:cs typeface="Times New Roman"/>
                <a:sym typeface="Times New Roman"/>
              </a:rPr>
              <a:pPr/>
              <a:t>45,4%</a:t>
            </a:fld>
            <a:endParaRPr lang="tr-TR" sz="1500" dirty="0">
              <a:solidFill>
                <a:schemeClr val="bg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96" name="Metin Yer Tutucusu 2"/>
          <p:cNvSpPr>
            <a:spLocks noGrp="1"/>
          </p:cNvSpPr>
          <p:nvPr>
            <p:custDataLst>
              <p:tags r:id="rId55"/>
            </p:custDataLst>
          </p:nvPr>
        </p:nvSpPr>
        <p:spPr bwMode="gray">
          <a:xfrm>
            <a:off x="3409950" y="3616325"/>
            <a:ext cx="546100" cy="228600"/>
          </a:xfrm>
          <a:prstGeom prst="rect">
            <a:avLst/>
          </a:prstGeom>
          <a:solidFill>
            <a:srgbClr val="BBCAFB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BC470F4-3184-4B21-8126-B57FDF9B9256}" type="datetime'''''''5''''2'''''''''',''''''''''''''''''''''''6''''%'''">
              <a:rPr lang="tr-TR" altLang="en-US" sz="1500">
                <a:latin typeface="Times New Roman"/>
                <a:cs typeface="Times New Roman"/>
                <a:sym typeface="Times New Roman"/>
              </a:rPr>
              <a:pPr/>
              <a:t>52,6%</a:t>
            </a:fld>
            <a:endParaRPr lang="tr-TR" sz="1500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44" name="Metin Yer Tutucusu 119"/>
          <p:cNvSpPr>
            <a:spLocks noGrp="1"/>
          </p:cNvSpPr>
          <p:nvPr>
            <p:custDataLst>
              <p:tags r:id="rId56"/>
            </p:custDataLst>
          </p:nvPr>
        </p:nvSpPr>
        <p:spPr bwMode="gray">
          <a:xfrm>
            <a:off x="2371725" y="3597275"/>
            <a:ext cx="546100" cy="228600"/>
          </a:xfrm>
          <a:prstGeom prst="rect">
            <a:avLst/>
          </a:prstGeom>
          <a:solidFill>
            <a:srgbClr val="BBCAFB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48FD492-F946-4715-ABC3-E79ED4F32C37}" type="datetime'''''''''''''''54'''''''',''''''''''''''1''''''''''''%'''">
              <a:rPr lang="en-US" altLang="en-US" sz="1500">
                <a:latin typeface="Times New Roman"/>
                <a:cs typeface="Times New Roman"/>
                <a:sym typeface="Times New Roman"/>
              </a:rPr>
              <a:pPr/>
              <a:t>54,1%</a:t>
            </a:fld>
            <a:endParaRPr lang="tr-TR" sz="1500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282" name="Metin Yer Tutucusu 190"/>
          <p:cNvSpPr>
            <a:spLocks noGrp="1"/>
          </p:cNvSpPr>
          <p:nvPr>
            <p:custDataLst>
              <p:tags r:id="rId57"/>
            </p:custDataLst>
          </p:nvPr>
        </p:nvSpPr>
        <p:spPr bwMode="auto">
          <a:xfrm>
            <a:off x="1409700" y="4594225"/>
            <a:ext cx="393700" cy="228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ED94D90-D9D5-46CB-97EF-35F33A8D3E9D}" type="datetime'''''''''''''''''''2''''''''''''''''''''0''''''0''''''6'''''''">
              <a:rPr lang="en-US" altLang="en-US" sz="1500" b="1">
                <a:latin typeface="Times New Roman"/>
                <a:cs typeface="Times New Roman"/>
                <a:sym typeface="Times New Roman"/>
              </a:rPr>
              <a:pPr/>
              <a:t>2006</a:t>
            </a:fld>
            <a:endParaRPr lang="tr-TR" sz="15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285" name="Metin Yer Tutucusu 193"/>
          <p:cNvSpPr>
            <a:spLocks noGrp="1"/>
          </p:cNvSpPr>
          <p:nvPr>
            <p:custDataLst>
              <p:tags r:id="rId58"/>
            </p:custDataLst>
          </p:nvPr>
        </p:nvSpPr>
        <p:spPr bwMode="auto">
          <a:xfrm>
            <a:off x="2965450" y="4594225"/>
            <a:ext cx="393700" cy="228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8AF4438-2463-4558-BEDD-A3AB11422BC9}" type="datetime'''''''''''''''''''''''2''''''''0''''0''''9'''">
              <a:rPr lang="en-US" altLang="en-US" sz="1500" b="1">
                <a:latin typeface="Times New Roman"/>
                <a:cs typeface="Times New Roman"/>
                <a:sym typeface="Times New Roman"/>
              </a:rPr>
              <a:pPr/>
              <a:t>2009</a:t>
            </a:fld>
            <a:endParaRPr lang="tr-TR" sz="15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38" name="Metin Yer Tutucusu 113"/>
          <p:cNvSpPr>
            <a:spLocks noGrp="1"/>
          </p:cNvSpPr>
          <p:nvPr>
            <p:custDataLst>
              <p:tags r:id="rId59"/>
            </p:custDataLst>
          </p:nvPr>
        </p:nvSpPr>
        <p:spPr bwMode="gray">
          <a:xfrm>
            <a:off x="1333500" y="3717925"/>
            <a:ext cx="546100" cy="228600"/>
          </a:xfrm>
          <a:prstGeom prst="rect">
            <a:avLst/>
          </a:prstGeom>
          <a:solidFill>
            <a:srgbClr val="BBCAFB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63375B6-0C05-40F0-A5C2-B08DF872C456}" type="datetime'4''''''''''5'''''''''''''''''''''''',''''''''''''''6''''''%'">
              <a:rPr lang="en-US" altLang="en-US" sz="1500">
                <a:latin typeface="Times New Roman"/>
                <a:cs typeface="Times New Roman"/>
                <a:sym typeface="Times New Roman"/>
              </a:rPr>
              <a:pPr/>
              <a:t>45,6%</a:t>
            </a:fld>
            <a:endParaRPr lang="tr-TR" sz="1500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41" name="Metin Yer Tutucusu 116"/>
          <p:cNvSpPr>
            <a:spLocks noGrp="1"/>
          </p:cNvSpPr>
          <p:nvPr>
            <p:custDataLst>
              <p:tags r:id="rId60"/>
            </p:custDataLst>
          </p:nvPr>
        </p:nvSpPr>
        <p:spPr bwMode="gray">
          <a:xfrm>
            <a:off x="1854200" y="3590925"/>
            <a:ext cx="546100" cy="228600"/>
          </a:xfrm>
          <a:prstGeom prst="rect">
            <a:avLst/>
          </a:prstGeom>
          <a:solidFill>
            <a:srgbClr val="BBCAFB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836DB8A-EA3F-4A59-93A8-8B736B7F5C86}" type="datetime'''''''''''54,''''''''''''''5''''''''''''''''''''''''%'''''''">
              <a:rPr lang="en-US" altLang="en-US" sz="1500">
                <a:latin typeface="Times New Roman"/>
                <a:cs typeface="Times New Roman"/>
                <a:sym typeface="Times New Roman"/>
              </a:rPr>
              <a:pPr/>
              <a:t>54,5%</a:t>
            </a:fld>
            <a:endParaRPr lang="tr-TR" sz="1500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48" name="Metin Yer Tutucusu 123"/>
          <p:cNvSpPr>
            <a:spLocks noGrp="1"/>
          </p:cNvSpPr>
          <p:nvPr>
            <p:custDataLst>
              <p:tags r:id="rId61"/>
            </p:custDataLst>
          </p:nvPr>
        </p:nvSpPr>
        <p:spPr bwMode="gray">
          <a:xfrm>
            <a:off x="2889250" y="2187575"/>
            <a:ext cx="546100" cy="228600"/>
          </a:xfrm>
          <a:prstGeom prst="rect">
            <a:avLst/>
          </a:prstGeom>
          <a:solidFill>
            <a:srgbClr val="C30C3E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116C870-6CAF-4EB1-A876-84AE1EBE7993}" type="datetime'''''''''4''''''''''''''6'''',''''''''''1%'''''''''''''''''''''">
              <a:rPr lang="en-US" altLang="en-US" sz="1500">
                <a:solidFill>
                  <a:schemeClr val="bg1"/>
                </a:solidFill>
                <a:latin typeface="Times New Roman"/>
                <a:cs typeface="Times New Roman"/>
                <a:sym typeface="Times New Roman"/>
              </a:rPr>
              <a:pPr/>
              <a:t>46,1%</a:t>
            </a:fld>
            <a:endParaRPr lang="tr-TR" sz="1500" dirty="0">
              <a:solidFill>
                <a:schemeClr val="bg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39" name="Metin Yer Tutucusu 114"/>
          <p:cNvSpPr>
            <a:spLocks noGrp="1"/>
          </p:cNvSpPr>
          <p:nvPr>
            <p:custDataLst>
              <p:tags r:id="rId62"/>
            </p:custDataLst>
          </p:nvPr>
        </p:nvSpPr>
        <p:spPr bwMode="gray">
          <a:xfrm>
            <a:off x="1333500" y="2295525"/>
            <a:ext cx="546100" cy="228600"/>
          </a:xfrm>
          <a:prstGeom prst="rect">
            <a:avLst/>
          </a:prstGeom>
          <a:solidFill>
            <a:srgbClr val="C30C3E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89ACA50-5FC0-46AD-8EA5-27BD16454BA6}" type="datetime'''''''''5''''3'''''''',''9''''%'''''''''''''''''">
              <a:rPr lang="en-US" altLang="en-US" sz="1500">
                <a:solidFill>
                  <a:schemeClr val="bg1"/>
                </a:solidFill>
                <a:latin typeface="Times New Roman"/>
                <a:cs typeface="Times New Roman"/>
                <a:sym typeface="Times New Roman"/>
              </a:rPr>
              <a:pPr/>
              <a:t>53,9%</a:t>
            </a:fld>
            <a:endParaRPr lang="tr-TR" sz="1500" dirty="0">
              <a:solidFill>
                <a:schemeClr val="bg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281" name="Metin Yer Tutucusu 189"/>
          <p:cNvSpPr>
            <a:spLocks noGrp="1"/>
          </p:cNvSpPr>
          <p:nvPr>
            <p:custDataLst>
              <p:tags r:id="rId63"/>
            </p:custDataLst>
          </p:nvPr>
        </p:nvSpPr>
        <p:spPr bwMode="auto">
          <a:xfrm>
            <a:off x="889000" y="4594225"/>
            <a:ext cx="393700" cy="228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1F95D5B-B68D-4491-9B54-5F39A6B370D3}" type="datetime'''''''''''''''''''''''''''2''''''0''0''5'''''''''''''''">
              <a:rPr lang="en-US" altLang="en-US" sz="1500" b="1">
                <a:latin typeface="Times New Roman"/>
                <a:cs typeface="Times New Roman"/>
                <a:sym typeface="Times New Roman"/>
              </a:rPr>
              <a:pPr/>
              <a:t>2005</a:t>
            </a:fld>
            <a:endParaRPr lang="tr-TR" sz="15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94" name="Metin Yer Tutucusu 193"/>
          <p:cNvSpPr>
            <a:spLocks noGrp="1"/>
          </p:cNvSpPr>
          <p:nvPr>
            <p:custDataLst>
              <p:tags r:id="rId64"/>
            </p:custDataLst>
          </p:nvPr>
        </p:nvSpPr>
        <p:spPr bwMode="auto">
          <a:xfrm>
            <a:off x="3486150" y="4594225"/>
            <a:ext cx="393700" cy="228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C92C679-DC11-4D64-9CA0-58B4192BCE9C}" type="datetime'''''''20''''''''''''10'''''''''''''''''''''''">
              <a:rPr lang="tr-TR" altLang="en-US" sz="1500" b="1">
                <a:latin typeface="Times New Roman"/>
                <a:cs typeface="Times New Roman"/>
                <a:sym typeface="Times New Roman"/>
              </a:rPr>
              <a:pPr/>
              <a:t>2010</a:t>
            </a:fld>
            <a:endParaRPr lang="tr-TR" sz="15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95" name="Metin Yer Tutucusu 193"/>
          <p:cNvSpPr>
            <a:spLocks noGrp="1"/>
          </p:cNvSpPr>
          <p:nvPr>
            <p:custDataLst>
              <p:tags r:id="rId65"/>
            </p:custDataLst>
          </p:nvPr>
        </p:nvSpPr>
        <p:spPr bwMode="auto">
          <a:xfrm>
            <a:off x="4013200" y="4594225"/>
            <a:ext cx="382588" cy="228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E61856C-6F2E-4768-8BF6-F0284C68B9E8}" type="datetime'2''0''''''''''''''1''''''''''''''''1'''''''''''''''''">
              <a:rPr lang="tr-TR" altLang="en-US" sz="1500" b="1">
                <a:latin typeface="Times New Roman"/>
                <a:cs typeface="Times New Roman"/>
                <a:sym typeface="Times New Roman"/>
              </a:rPr>
              <a:pPr/>
              <a:t>2011</a:t>
            </a:fld>
            <a:endParaRPr lang="tr-TR" sz="15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284" name="Metin Yer Tutucusu 192"/>
          <p:cNvSpPr>
            <a:spLocks noGrp="1"/>
          </p:cNvSpPr>
          <p:nvPr>
            <p:custDataLst>
              <p:tags r:id="rId66"/>
            </p:custDataLst>
          </p:nvPr>
        </p:nvSpPr>
        <p:spPr bwMode="auto">
          <a:xfrm>
            <a:off x="2447925" y="4594225"/>
            <a:ext cx="393700" cy="228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C705030-27E8-408F-90BB-1560DF027141}" type="datetime'''''2''00''''''''''''''''''''''''8'''''''''">
              <a:rPr lang="en-US" altLang="en-US" sz="1500" b="1">
                <a:latin typeface="Times New Roman"/>
                <a:cs typeface="Times New Roman"/>
                <a:sym typeface="Times New Roman"/>
              </a:rPr>
              <a:pPr/>
              <a:t>2008</a:t>
            </a:fld>
            <a:endParaRPr lang="tr-TR" sz="15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283" name="Metin Yer Tutucusu 191"/>
          <p:cNvSpPr>
            <a:spLocks noGrp="1"/>
          </p:cNvSpPr>
          <p:nvPr>
            <p:custDataLst>
              <p:tags r:id="rId67"/>
            </p:custDataLst>
          </p:nvPr>
        </p:nvSpPr>
        <p:spPr bwMode="auto">
          <a:xfrm>
            <a:off x="1930400" y="4594225"/>
            <a:ext cx="393700" cy="228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5F1CE25-2F54-48AB-9949-56102D29FDE0}" type="datetime'''2''''''''''0''''''''''''''''''''''''''''''0''''''7'''''">
              <a:rPr lang="en-US" altLang="en-US" sz="1500" b="1">
                <a:latin typeface="Times New Roman"/>
                <a:cs typeface="Times New Roman"/>
                <a:sym typeface="Times New Roman"/>
              </a:rPr>
              <a:pPr/>
              <a:t>2007</a:t>
            </a:fld>
            <a:endParaRPr lang="tr-TR" sz="15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99" name="Metin Yer Tutucusu 2"/>
          <p:cNvSpPr>
            <a:spLocks noGrp="1"/>
          </p:cNvSpPr>
          <p:nvPr>
            <p:custDataLst>
              <p:tags r:id="rId68"/>
            </p:custDataLst>
          </p:nvPr>
        </p:nvSpPr>
        <p:spPr bwMode="gray">
          <a:xfrm>
            <a:off x="3930650" y="3609975"/>
            <a:ext cx="546100" cy="228600"/>
          </a:xfrm>
          <a:prstGeom prst="rect">
            <a:avLst/>
          </a:prstGeom>
          <a:solidFill>
            <a:srgbClr val="BBCAFB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43F4081-09AE-49BA-8FF0-F5FE944DEEFC}" type="datetime'''5''''''''''''''''''3'''''',''''''''''''''''''''''''0''%'">
              <a:rPr lang="tr-TR" altLang="en-US" sz="1500">
                <a:latin typeface="Times New Roman"/>
                <a:cs typeface="Times New Roman"/>
                <a:sym typeface="Times New Roman"/>
              </a:rPr>
              <a:pPr/>
              <a:t>53,0%</a:t>
            </a:fld>
            <a:endParaRPr lang="tr-TR" sz="1500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00" name="Metin Yer Tutucusu 2"/>
          <p:cNvSpPr>
            <a:spLocks noGrp="1"/>
          </p:cNvSpPr>
          <p:nvPr>
            <p:custDataLst>
              <p:tags r:id="rId69"/>
            </p:custDataLst>
          </p:nvPr>
        </p:nvSpPr>
        <p:spPr bwMode="gray">
          <a:xfrm>
            <a:off x="3930650" y="2193925"/>
            <a:ext cx="546100" cy="228600"/>
          </a:xfrm>
          <a:prstGeom prst="rect">
            <a:avLst/>
          </a:prstGeom>
          <a:solidFill>
            <a:srgbClr val="C30C3E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358531D-1E59-40E0-A598-AC103039B3DD}" type="datetime'''''''''''''4''''''''6,''''0%'''''''''''''">
              <a:rPr lang="tr-TR" altLang="en-US" sz="1500">
                <a:solidFill>
                  <a:schemeClr val="bg1"/>
                </a:solidFill>
                <a:latin typeface="Times New Roman"/>
                <a:cs typeface="Times New Roman"/>
                <a:sym typeface="Times New Roman"/>
              </a:rPr>
              <a:pPr/>
              <a:t>46,0%</a:t>
            </a:fld>
            <a:endParaRPr lang="tr-TR" sz="1500" dirty="0">
              <a:solidFill>
                <a:schemeClr val="bg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97" name="Metin Yer Tutucusu 2"/>
          <p:cNvSpPr>
            <a:spLocks noGrp="1"/>
          </p:cNvSpPr>
          <p:nvPr>
            <p:custDataLst>
              <p:tags r:id="rId70"/>
            </p:custDataLst>
          </p:nvPr>
        </p:nvSpPr>
        <p:spPr bwMode="gray">
          <a:xfrm>
            <a:off x="3409950" y="2200275"/>
            <a:ext cx="546100" cy="228600"/>
          </a:xfrm>
          <a:prstGeom prst="rect">
            <a:avLst/>
          </a:prstGeom>
          <a:solidFill>
            <a:srgbClr val="C30C3E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6896F8D-178D-4D5C-A72F-451F693670DE}" type="datetime'''''''46'''''''''''''''''''''''''''''''''',''6''%'''''''''''">
              <a:rPr lang="tr-TR" altLang="en-US" sz="1500">
                <a:solidFill>
                  <a:schemeClr val="bg1"/>
                </a:solidFill>
                <a:latin typeface="Times New Roman"/>
                <a:cs typeface="Times New Roman"/>
                <a:sym typeface="Times New Roman"/>
              </a:rPr>
              <a:pPr/>
              <a:t>46,6%</a:t>
            </a:fld>
            <a:endParaRPr lang="tr-TR" sz="1500" dirty="0">
              <a:solidFill>
                <a:schemeClr val="bg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36" name="Metin Yer Tutucusu 111"/>
          <p:cNvSpPr>
            <a:spLocks noGrp="1"/>
          </p:cNvSpPr>
          <p:nvPr>
            <p:custDataLst>
              <p:tags r:id="rId71"/>
            </p:custDataLst>
          </p:nvPr>
        </p:nvSpPr>
        <p:spPr bwMode="gray">
          <a:xfrm>
            <a:off x="812800" y="2327275"/>
            <a:ext cx="546100" cy="228600"/>
          </a:xfrm>
          <a:prstGeom prst="rect">
            <a:avLst/>
          </a:prstGeom>
          <a:solidFill>
            <a:srgbClr val="C30C3E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9E898F7-C675-4732-8493-41D7BCCCEA21}" type="datetime'''55,''''7''''''''''''''''''%'''''''''''''''''''''''''''''">
              <a:rPr lang="en-US" altLang="en-US" sz="1500">
                <a:solidFill>
                  <a:schemeClr val="bg1"/>
                </a:solidFill>
                <a:latin typeface="Times New Roman"/>
                <a:cs typeface="Times New Roman"/>
                <a:sym typeface="Times New Roman"/>
              </a:rPr>
              <a:pPr/>
              <a:t>55,7%</a:t>
            </a:fld>
            <a:endParaRPr lang="tr-TR" sz="1500" dirty="0">
              <a:solidFill>
                <a:schemeClr val="bg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35" name="Metin Yer Tutucusu 110"/>
          <p:cNvSpPr>
            <a:spLocks noGrp="1"/>
          </p:cNvSpPr>
          <p:nvPr>
            <p:custDataLst>
              <p:tags r:id="rId72"/>
            </p:custDataLst>
          </p:nvPr>
        </p:nvSpPr>
        <p:spPr bwMode="gray">
          <a:xfrm>
            <a:off x="812800" y="3746500"/>
            <a:ext cx="546100" cy="228600"/>
          </a:xfrm>
          <a:prstGeom prst="rect">
            <a:avLst/>
          </a:prstGeom>
          <a:solidFill>
            <a:srgbClr val="BBCAFB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7327D52-99B3-4750-8963-B78E54101D4E}" type="datetime'''4''''''3'''''''''',''''''''''''''''''''''''''6%'''''''''''">
              <a:rPr lang="en-US" altLang="en-US" sz="1500">
                <a:latin typeface="Times New Roman"/>
                <a:cs typeface="Times New Roman"/>
                <a:sym typeface="Times New Roman"/>
              </a:rPr>
              <a:pPr/>
              <a:t>43,6%</a:t>
            </a:fld>
            <a:endParaRPr lang="tr-TR" sz="1500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88" name="Metin Yer Tutucusu 2"/>
          <p:cNvSpPr>
            <a:spLocks noGrp="1"/>
          </p:cNvSpPr>
          <p:nvPr>
            <p:custDataLst>
              <p:tags r:id="rId73"/>
            </p:custDataLst>
          </p:nvPr>
        </p:nvSpPr>
        <p:spPr bwMode="gray">
          <a:xfrm>
            <a:off x="8610600" y="2108200"/>
            <a:ext cx="546100" cy="228600"/>
          </a:xfrm>
          <a:prstGeom prst="rect">
            <a:avLst/>
          </a:prstGeom>
          <a:solidFill>
            <a:srgbClr val="C30C3E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D0566D7-21EB-4470-8498-76A836E324FA}" type="datetime'''''''''''''''''''4''''''''''0,8''''''''''''''%'''''''''''">
              <a:rPr lang="tr-TR" altLang="en-US" sz="1500">
                <a:solidFill>
                  <a:schemeClr val="bg1"/>
                </a:solidFill>
                <a:latin typeface="Times New Roman"/>
                <a:cs typeface="Times New Roman"/>
                <a:sym typeface="Times New Roman"/>
              </a:rPr>
              <a:pPr/>
              <a:t>40,8%</a:t>
            </a:fld>
            <a:endParaRPr lang="tr-TR" sz="1500" dirty="0">
              <a:solidFill>
                <a:schemeClr val="bg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20" name="Metin Yer Tutucusu 28"/>
          <p:cNvSpPr>
            <a:spLocks noGrp="1"/>
          </p:cNvSpPr>
          <p:nvPr>
            <p:custDataLst>
              <p:tags r:id="rId74"/>
            </p:custDataLst>
          </p:nvPr>
        </p:nvSpPr>
        <p:spPr bwMode="gray">
          <a:xfrm>
            <a:off x="292100" y="3765550"/>
            <a:ext cx="546100" cy="228600"/>
          </a:xfrm>
          <a:prstGeom prst="rect">
            <a:avLst/>
          </a:prstGeom>
          <a:solidFill>
            <a:srgbClr val="BBCAFB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F258727-0C0C-4B09-B1BB-36ABA476AB81}" type="datetime'4''2'''''''''''''''''''''''''''''''''''''''''''',3''%'">
              <a:rPr lang="en-US" altLang="en-US" sz="1500">
                <a:latin typeface="Times New Roman"/>
                <a:cs typeface="Times New Roman"/>
                <a:sym typeface="Times New Roman"/>
              </a:rPr>
              <a:pPr/>
              <a:t>42,3%</a:t>
            </a:fld>
            <a:endParaRPr lang="tr-TR" sz="1500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21" name="Metin Yer Tutucusu 29"/>
          <p:cNvSpPr>
            <a:spLocks noGrp="1"/>
          </p:cNvSpPr>
          <p:nvPr>
            <p:custDataLst>
              <p:tags r:id="rId75"/>
            </p:custDataLst>
          </p:nvPr>
        </p:nvSpPr>
        <p:spPr bwMode="gray">
          <a:xfrm>
            <a:off x="292100" y="2346325"/>
            <a:ext cx="546100" cy="228600"/>
          </a:xfrm>
          <a:prstGeom prst="rect">
            <a:avLst/>
          </a:prstGeom>
          <a:solidFill>
            <a:srgbClr val="C30C3E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1D8915E-3E65-41B5-AE9D-8041FD2CC3DB}" type="datetime'''''''''''''''''5''''''''''''7,''''1''''''''''%'''''''''''">
              <a:rPr lang="en-US" altLang="en-US" sz="1500">
                <a:solidFill>
                  <a:schemeClr val="bg1"/>
                </a:solidFill>
                <a:latin typeface="Times New Roman"/>
                <a:cs typeface="Times New Roman"/>
                <a:sym typeface="Times New Roman"/>
              </a:rPr>
              <a:pPr/>
              <a:t>57,1%</a:t>
            </a:fld>
            <a:endParaRPr lang="tr-TR" sz="1500" dirty="0">
              <a:solidFill>
                <a:schemeClr val="bg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87" name="Metin Yer Tutucusu 2"/>
          <p:cNvSpPr>
            <a:spLocks noGrp="1"/>
          </p:cNvSpPr>
          <p:nvPr>
            <p:custDataLst>
              <p:tags r:id="rId76"/>
            </p:custDataLst>
          </p:nvPr>
        </p:nvSpPr>
        <p:spPr bwMode="gray">
          <a:xfrm>
            <a:off x="8610600" y="3530600"/>
            <a:ext cx="546100" cy="228600"/>
          </a:xfrm>
          <a:prstGeom prst="rect">
            <a:avLst/>
          </a:prstGeom>
          <a:solidFill>
            <a:srgbClr val="BBCAFB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6104F42-D46B-4E8E-B4A0-089E3E4BFF9E}" type="datetime'''''''''''5''''''8'''''''',''''''''''''''''7''''''''''''''%'''">
              <a:rPr lang="tr-TR" altLang="en-US" sz="1500">
                <a:latin typeface="Times New Roman"/>
                <a:cs typeface="Times New Roman"/>
                <a:sym typeface="Times New Roman"/>
              </a:rPr>
              <a:pPr/>
              <a:t>58,7%</a:t>
            </a:fld>
            <a:endParaRPr lang="tr-TR" sz="1500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86" name="Metin Yer Tutucusu 193"/>
          <p:cNvSpPr>
            <a:spLocks noGrp="1"/>
          </p:cNvSpPr>
          <p:nvPr>
            <p:custDataLst>
              <p:tags r:id="rId77"/>
            </p:custDataLst>
          </p:nvPr>
        </p:nvSpPr>
        <p:spPr bwMode="auto">
          <a:xfrm>
            <a:off x="8613775" y="4594225"/>
            <a:ext cx="541338" cy="45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FDF78C0-E2F6-4F3D-B5CA-346B859F51AF}" type="datetime'2''01''''7''''''''-''''''''''K''''''''a''''''''''s''ım'''">
              <a:rPr lang="tr-TR" altLang="en-US" sz="1500" b="1">
                <a:latin typeface="Times New Roman"/>
                <a:cs typeface="Times New Roman"/>
                <a:sym typeface="Times New Roman"/>
              </a:rPr>
              <a:pPr/>
              <a:t>2017-Kasım</a:t>
            </a:fld>
            <a:endParaRPr lang="tr-TR" sz="15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275" name="Metin Yer Tutucusu 183"/>
          <p:cNvSpPr>
            <a:spLocks noGrp="1"/>
          </p:cNvSpPr>
          <p:nvPr>
            <p:custDataLst>
              <p:tags r:id="rId78"/>
            </p:custDataLst>
          </p:nvPr>
        </p:nvSpPr>
        <p:spPr bwMode="auto">
          <a:xfrm>
            <a:off x="368300" y="4594225"/>
            <a:ext cx="393700" cy="228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837968D-5BDB-42D8-B7E1-2E26F27C29EA}" type="datetime'''''''''''''''''''20''''''''''''''''0''''''''''''''4'''''''">
              <a:rPr lang="en-US" sz="1500" b="1">
                <a:latin typeface="Times New Roman"/>
                <a:cs typeface="Times New Roman"/>
                <a:sym typeface="Times New Roman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04</a:t>
            </a:fld>
            <a:endParaRPr lang="tr-TR" sz="1500" b="1" dirty="0">
              <a:latin typeface="Times New Roman"/>
              <a:cs typeface="Times New Roman"/>
              <a:sym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84422481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Nesne 2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861613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8" name="think-cell Slide" r:id="rId80" imgW="416" imgH="416" progId="TCLayout.ActiveDocument.1">
                  <p:embed/>
                </p:oleObj>
              </mc:Choice>
              <mc:Fallback>
                <p:oleObj name="think-cell Slide" r:id="rId80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ikdörtgen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tr-TR" sz="1500" b="1" dirty="0">
              <a:latin typeface="Times New Roman"/>
              <a:cs typeface="Times New Roman"/>
              <a:sym typeface="Times New Roman"/>
            </a:endParaRPr>
          </a:p>
        </p:txBody>
      </p:sp>
      <p:graphicFrame>
        <p:nvGraphicFramePr>
          <p:cNvPr id="4" name="Nesne 3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299797201"/>
              </p:ext>
            </p:extLst>
          </p:nvPr>
        </p:nvGraphicFramePr>
        <p:xfrm>
          <a:off x="0" y="1231900"/>
          <a:ext cx="9296296" cy="356865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9" name="Çizelge" r:id="rId82" imgW="9296296" imgH="3568654" progId="MSGraph.Chart.8">
                  <p:embed followColorScheme="full"/>
                </p:oleObj>
              </mc:Choice>
              <mc:Fallback>
                <p:oleObj name="Çizelge" r:id="rId82" imgW="9296296" imgH="3568654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3"/>
                      <a:stretch>
                        <a:fillRect/>
                      </a:stretch>
                    </p:blipFill>
                    <p:spPr>
                      <a:xfrm>
                        <a:off x="0" y="1231900"/>
                        <a:ext cx="9296296" cy="356865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0" name="Düz Bağlayıcı 9"/>
          <p:cNvCxnSpPr/>
          <p:nvPr>
            <p:custDataLst>
              <p:tags r:id="rId5"/>
            </p:custDataLst>
          </p:nvPr>
        </p:nvCxnSpPr>
        <p:spPr bwMode="auto">
          <a:xfrm>
            <a:off x="8877300" y="1612901"/>
            <a:ext cx="0" cy="47625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Düz Bağlayıcı 63"/>
          <p:cNvCxnSpPr/>
          <p:nvPr>
            <p:custDataLst>
              <p:tags r:id="rId6"/>
            </p:custDataLst>
          </p:nvPr>
        </p:nvCxnSpPr>
        <p:spPr bwMode="auto">
          <a:xfrm>
            <a:off x="2000250" y="1612900"/>
            <a:ext cx="0" cy="25400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2" name="Düz Bağlayıcı 111"/>
          <p:cNvCxnSpPr/>
          <p:nvPr>
            <p:custDataLst>
              <p:tags r:id="rId7"/>
            </p:custDataLst>
          </p:nvPr>
        </p:nvCxnSpPr>
        <p:spPr bwMode="auto">
          <a:xfrm>
            <a:off x="3057525" y="1612900"/>
            <a:ext cx="0" cy="28575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Düz Bağlayıcı 51"/>
          <p:cNvCxnSpPr/>
          <p:nvPr>
            <p:custDataLst>
              <p:tags r:id="rId8"/>
            </p:custDataLst>
          </p:nvPr>
        </p:nvCxnSpPr>
        <p:spPr bwMode="auto">
          <a:xfrm>
            <a:off x="942975" y="1612900"/>
            <a:ext cx="0" cy="25400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Düz Bağlayıcı 45"/>
          <p:cNvCxnSpPr/>
          <p:nvPr>
            <p:custDataLst>
              <p:tags r:id="rId9"/>
            </p:custDataLst>
          </p:nvPr>
        </p:nvCxnSpPr>
        <p:spPr bwMode="auto">
          <a:xfrm>
            <a:off x="412750" y="1612900"/>
            <a:ext cx="0" cy="25400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Düz Bağlayıcı 7"/>
          <p:cNvCxnSpPr/>
          <p:nvPr>
            <p:custDataLst>
              <p:tags r:id="rId10"/>
            </p:custDataLst>
          </p:nvPr>
        </p:nvCxnSpPr>
        <p:spPr bwMode="auto">
          <a:xfrm>
            <a:off x="7816850" y="1612900"/>
            <a:ext cx="0" cy="31750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Düz Bağlayıcı 57"/>
          <p:cNvCxnSpPr/>
          <p:nvPr>
            <p:custDataLst>
              <p:tags r:id="rId11"/>
            </p:custDataLst>
          </p:nvPr>
        </p:nvCxnSpPr>
        <p:spPr bwMode="auto">
          <a:xfrm>
            <a:off x="1473200" y="1612900"/>
            <a:ext cx="0" cy="25400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Düz Bağlayıcı 8"/>
          <p:cNvCxnSpPr/>
          <p:nvPr>
            <p:custDataLst>
              <p:tags r:id="rId12"/>
            </p:custDataLst>
          </p:nvPr>
        </p:nvCxnSpPr>
        <p:spPr bwMode="auto">
          <a:xfrm>
            <a:off x="8347075" y="1612900"/>
            <a:ext cx="0" cy="92075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2" name="Düz Bağlayıcı 161"/>
          <p:cNvCxnSpPr/>
          <p:nvPr>
            <p:custDataLst>
              <p:tags r:id="rId13"/>
            </p:custDataLst>
          </p:nvPr>
        </p:nvCxnSpPr>
        <p:spPr bwMode="auto">
          <a:xfrm>
            <a:off x="4645025" y="1612900"/>
            <a:ext cx="0" cy="25400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5" name="Düz Bağlayıcı 154"/>
          <p:cNvCxnSpPr/>
          <p:nvPr>
            <p:custDataLst>
              <p:tags r:id="rId14"/>
            </p:custDataLst>
          </p:nvPr>
        </p:nvCxnSpPr>
        <p:spPr bwMode="auto">
          <a:xfrm>
            <a:off x="4114800" y="1612900"/>
            <a:ext cx="0" cy="28575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6" name="Düz Bağlayıcı 165"/>
          <p:cNvCxnSpPr/>
          <p:nvPr>
            <p:custDataLst>
              <p:tags r:id="rId15"/>
            </p:custDataLst>
          </p:nvPr>
        </p:nvCxnSpPr>
        <p:spPr bwMode="auto">
          <a:xfrm flipV="1">
            <a:off x="139700" y="1638300"/>
            <a:ext cx="109538" cy="114300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Düz Bağlayıcı 22"/>
          <p:cNvCxnSpPr/>
          <p:nvPr>
            <p:custDataLst>
              <p:tags r:id="rId16"/>
            </p:custDataLst>
          </p:nvPr>
        </p:nvCxnSpPr>
        <p:spPr bwMode="auto">
          <a:xfrm flipH="1">
            <a:off x="9074150" y="1638300"/>
            <a:ext cx="203200" cy="0"/>
          </a:xfrm>
          <a:prstGeom prst="line">
            <a:avLst/>
          </a:prstGeom>
          <a:ln w="9525">
            <a:solidFill>
              <a:schemeClr val="tx1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Düz Bağlayıcı 6"/>
          <p:cNvCxnSpPr/>
          <p:nvPr>
            <p:custDataLst>
              <p:tags r:id="rId17"/>
            </p:custDataLst>
          </p:nvPr>
        </p:nvCxnSpPr>
        <p:spPr bwMode="auto">
          <a:xfrm>
            <a:off x="7289800" y="1612900"/>
            <a:ext cx="0" cy="79375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Düz Bağlayıcı 4"/>
          <p:cNvCxnSpPr/>
          <p:nvPr>
            <p:custDataLst>
              <p:tags r:id="rId18"/>
            </p:custDataLst>
          </p:nvPr>
        </p:nvCxnSpPr>
        <p:spPr bwMode="auto">
          <a:xfrm>
            <a:off x="6232525" y="1612900"/>
            <a:ext cx="0" cy="98425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Düz Bağlayıcı 11"/>
          <p:cNvCxnSpPr/>
          <p:nvPr>
            <p:custDataLst>
              <p:tags r:id="rId19"/>
            </p:custDataLst>
          </p:nvPr>
        </p:nvCxnSpPr>
        <p:spPr bwMode="auto">
          <a:xfrm>
            <a:off x="6762750" y="1612900"/>
            <a:ext cx="0" cy="79375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0" name="Düz Bağlayıcı 199"/>
          <p:cNvCxnSpPr/>
          <p:nvPr>
            <p:custDataLst>
              <p:tags r:id="rId20"/>
            </p:custDataLst>
          </p:nvPr>
        </p:nvCxnSpPr>
        <p:spPr bwMode="auto">
          <a:xfrm>
            <a:off x="5702300" y="1612899"/>
            <a:ext cx="0" cy="63500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8" name="Düz Bağlayıcı 117"/>
          <p:cNvCxnSpPr/>
          <p:nvPr>
            <p:custDataLst>
              <p:tags r:id="rId21"/>
            </p:custDataLst>
          </p:nvPr>
        </p:nvCxnSpPr>
        <p:spPr bwMode="auto">
          <a:xfrm>
            <a:off x="3587750" y="1612900"/>
            <a:ext cx="0" cy="28575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Düz Bağlayıcı 69"/>
          <p:cNvCxnSpPr/>
          <p:nvPr>
            <p:custDataLst>
              <p:tags r:id="rId22"/>
            </p:custDataLst>
          </p:nvPr>
        </p:nvCxnSpPr>
        <p:spPr bwMode="auto">
          <a:xfrm>
            <a:off x="2527300" y="1612900"/>
            <a:ext cx="0" cy="25400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4" name="Düz Bağlayıcı 193"/>
          <p:cNvCxnSpPr/>
          <p:nvPr>
            <p:custDataLst>
              <p:tags r:id="rId23"/>
            </p:custDataLst>
          </p:nvPr>
        </p:nvCxnSpPr>
        <p:spPr bwMode="auto">
          <a:xfrm>
            <a:off x="5175250" y="1612900"/>
            <a:ext cx="0" cy="28575"/>
          </a:xfrm>
          <a:prstGeom prst="line">
            <a:avLst/>
          </a:prstGeom>
          <a:ln w="635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Metin Yer Tutucusu 2"/>
          <p:cNvSpPr>
            <a:spLocks noGrp="1"/>
          </p:cNvSpPr>
          <p:nvPr>
            <p:custDataLst>
              <p:tags r:id="rId24"/>
            </p:custDataLst>
          </p:nvPr>
        </p:nvSpPr>
        <p:spPr bwMode="gray">
          <a:xfrm>
            <a:off x="8074025" y="4064000"/>
            <a:ext cx="546100" cy="228600"/>
          </a:xfrm>
          <a:prstGeom prst="rect">
            <a:avLst/>
          </a:prstGeom>
          <a:solidFill>
            <a:srgbClr val="BBCAFB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823F884-3CA1-494A-B7DD-50498DC55047}" type="datetime'''''3''''''''1'''''''''',''''''''''2''''''%'''''">
              <a:rPr lang="tr-TR" altLang="en-US" sz="1500">
                <a:latin typeface="Times New Roman"/>
                <a:cs typeface="Times New Roman"/>
                <a:sym typeface="Times New Roman"/>
              </a:rPr>
              <a:pPr/>
              <a:t>31,2%</a:t>
            </a:fld>
            <a:endParaRPr lang="tr-TR" sz="1500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73" name="Metin Yer Tutucusu 2"/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8074025" y="2625725"/>
            <a:ext cx="546100" cy="228600"/>
          </a:xfrm>
          <a:prstGeom prst="rect">
            <a:avLst/>
          </a:prstGeom>
          <a:solidFill>
            <a:srgbClr val="C30C3E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8BA1F30-2E25-40A5-85DE-96352A0FD6AE}" type="datetime'''64,''''''3''''''''''''''''''%'''''''''">
              <a:rPr lang="tr-TR" altLang="en-US" sz="1500">
                <a:solidFill>
                  <a:schemeClr val="bg1"/>
                </a:solidFill>
                <a:latin typeface="Times New Roman"/>
                <a:cs typeface="Times New Roman"/>
                <a:sym typeface="Times New Roman"/>
              </a:rPr>
              <a:pPr/>
              <a:t>64,3%</a:t>
            </a:fld>
            <a:endParaRPr lang="tr-TR" sz="1500" dirty="0">
              <a:solidFill>
                <a:schemeClr val="bg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81" name="Metin Yer Tutucusu 179"/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7588250" y="4759325"/>
            <a:ext cx="457200" cy="45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8EDDB46-3E76-4494-8901-5F7881EE7030}" type="datetime'''2''0''''17-''''''''Q''''''''''''2'''''''''''''''''''''''">
              <a:rPr lang="tr-TR" altLang="en-US" sz="1500" b="1">
                <a:latin typeface="Times New Roman"/>
                <a:cs typeface="Times New Roman"/>
                <a:sym typeface="Times New Roman"/>
              </a:rPr>
              <a:pPr/>
              <a:t>2017-Q2</a:t>
            </a:fld>
            <a:endParaRPr lang="tr-TR" sz="15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2" name="Metin Yer Tutucusu 12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9328150" y="1524000"/>
            <a:ext cx="444500" cy="228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fld id="{3A775420-403B-4B50-BAC6-D511A3660DD3}" type="datetime'''''''''''''''''''''''''''''''''''''10''''''''''0%'''''''''''">
              <a:rPr lang="en-US" sz="1500">
                <a:latin typeface="Times New Roman"/>
                <a:cs typeface="Times New Roman"/>
                <a:sym typeface="Times New Roman"/>
              </a:rPr>
              <a:pPr marL="0" indent="0">
                <a:spcBef>
                  <a:spcPct val="0"/>
                </a:spcBef>
                <a:spcAft>
                  <a:spcPct val="0"/>
                </a:spcAft>
                <a:buNone/>
              </a:pPr>
              <a:t>100%</a:t>
            </a:fld>
            <a:endParaRPr lang="tr-TR" sz="1500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97" name="Metin Yer Tutucusu 182"/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-696913" y="4098925"/>
            <a:ext cx="811213" cy="228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4123E4DB-8F98-4641-B848-7E8BB1BD4D1D}" type="datetime'''H''''''''''''''''iz''m''''''''''etle''''''''''''''r'''''">
              <a:rPr lang="en-US" sz="1500" b="1">
                <a:latin typeface="Times New Roman"/>
                <a:cs typeface="Times New Roman"/>
                <a:sym typeface="Times New Roman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Hizmetler</a:t>
            </a:fld>
            <a:endParaRPr lang="tr-TR" sz="15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96" name="Metin Yer Tutucusu 181"/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-436563" y="2593975"/>
            <a:ext cx="550863" cy="228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F323AA71-8873-4461-8EA6-C8D52828C19C}" type="datetime'''''''''S''an''''a''''''''''''''''''y''''''''''''i'''''''">
              <a:rPr lang="en-US" sz="1500" b="1">
                <a:latin typeface="Times New Roman"/>
                <a:cs typeface="Times New Roman"/>
                <a:sym typeface="Times New Roman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Sanayi</a:t>
            </a:fld>
            <a:endParaRPr lang="tr-TR" sz="15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95" name="Metin Yer Tutucusu 180"/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-385763" y="1638300"/>
            <a:ext cx="500063" cy="228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8C03CFAC-C281-421C-818E-5045B7FFE116}" type="datetime'''T''ar''''''''''''''''''''''''''''''ım'''''''''''''''''">
              <a:rPr lang="en-US" sz="1500" b="1">
                <a:latin typeface="Times New Roman"/>
                <a:cs typeface="Times New Roman"/>
                <a:sym typeface="Times New Roman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Tarım</a:t>
            </a:fld>
            <a:endParaRPr lang="tr-TR" sz="15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71" name="Metin Yer Tutucusu 179"/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8118475" y="4759325"/>
            <a:ext cx="457200" cy="45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6AD0F04-3424-4CE5-BFF7-AE9B69354449}" type="datetime'''''2''''''''''''01''''''7''-''''''Q''''''''''''''3'''''''">
              <a:rPr lang="tr-TR" altLang="en-US" sz="1500" b="1">
                <a:latin typeface="Times New Roman"/>
                <a:cs typeface="Times New Roman"/>
                <a:sym typeface="Times New Roman"/>
              </a:rPr>
              <a:pPr/>
              <a:t>2017-Q3</a:t>
            </a:fld>
            <a:endParaRPr lang="tr-TR" sz="15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48" name="Metin Yer Tutucusu 123"/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5429250" y="2413000"/>
            <a:ext cx="546100" cy="228600"/>
          </a:xfrm>
          <a:prstGeom prst="rect">
            <a:avLst/>
          </a:prstGeom>
          <a:solidFill>
            <a:srgbClr val="C30C3E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CB952C3-1975-4DE5-8B60-FD6895D04722}" type="datetime'''''''''''''''''''''''''5''''''''''''''4'''',0''''''''''%'">
              <a:rPr lang="en-US" altLang="en-US" sz="1500">
                <a:solidFill>
                  <a:schemeClr val="bg1"/>
                </a:solidFill>
                <a:latin typeface="Times New Roman"/>
                <a:cs typeface="Times New Roman"/>
                <a:sym typeface="Times New Roman"/>
              </a:rPr>
              <a:pPr/>
              <a:t>54,0%</a:t>
            </a:fld>
            <a:endParaRPr lang="tr-TR" sz="1500" dirty="0">
              <a:solidFill>
                <a:schemeClr val="bg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45" name="Metin Yer Tutucusu 120"/>
          <p:cNvSpPr>
            <a:spLocks noGrp="1"/>
          </p:cNvSpPr>
          <p:nvPr>
            <p:custDataLst>
              <p:tags r:id="rId33"/>
            </p:custDataLst>
          </p:nvPr>
        </p:nvSpPr>
        <p:spPr bwMode="gray">
          <a:xfrm>
            <a:off x="4902200" y="2324100"/>
            <a:ext cx="546100" cy="228600"/>
          </a:xfrm>
          <a:prstGeom prst="rect">
            <a:avLst/>
          </a:prstGeom>
          <a:solidFill>
            <a:srgbClr val="C30C3E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1877499-B602-4512-AEF5-01DB6BB50496}" type="datetime'''''''''''''52'''''''',''''''''''''8''%'''">
              <a:rPr lang="en-US" altLang="en-US" sz="1500">
                <a:solidFill>
                  <a:schemeClr val="bg1"/>
                </a:solidFill>
                <a:latin typeface="Times New Roman"/>
                <a:cs typeface="Times New Roman"/>
                <a:sym typeface="Times New Roman"/>
              </a:rPr>
              <a:pPr/>
              <a:t>52,8%</a:t>
            </a:fld>
            <a:endParaRPr lang="tr-TR" sz="1500" dirty="0">
              <a:solidFill>
                <a:schemeClr val="bg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41" name="Metin Yer Tutucusu 116"/>
          <p:cNvSpPr>
            <a:spLocks noGrp="1"/>
          </p:cNvSpPr>
          <p:nvPr>
            <p:custDataLst>
              <p:tags r:id="rId34"/>
            </p:custDataLst>
          </p:nvPr>
        </p:nvSpPr>
        <p:spPr bwMode="gray">
          <a:xfrm>
            <a:off x="4371975" y="3711575"/>
            <a:ext cx="546100" cy="228600"/>
          </a:xfrm>
          <a:prstGeom prst="rect">
            <a:avLst/>
          </a:prstGeom>
          <a:solidFill>
            <a:srgbClr val="BBCAFB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FE0B52B-0CF6-4C6C-AB27-0AC5CFB42897}" type="datetime'''''''''''''''''''''''54,''''''''''''''''6''''''''%'''">
              <a:rPr lang="en-US" altLang="en-US" sz="1500">
                <a:latin typeface="Times New Roman"/>
                <a:cs typeface="Times New Roman"/>
                <a:sym typeface="Times New Roman"/>
              </a:rPr>
              <a:pPr/>
              <a:t>54,6%</a:t>
            </a:fld>
            <a:endParaRPr lang="tr-TR" sz="1500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93" name="Metin Yer Tutucusu 179"/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5505450" y="4759325"/>
            <a:ext cx="393700" cy="228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24DDD8E-3D57-41EB-AF71-73D97A81290A}" type="datetime'2''''''''0''''''''''''''''''''1''''''''4'''''''''''''''''''''">
              <a:rPr lang="en-US" sz="1500" b="1">
                <a:latin typeface="Times New Roman"/>
                <a:cs typeface="Times New Roman"/>
                <a:sym typeface="Times New Roman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4</a:t>
            </a:fld>
            <a:endParaRPr lang="tr-TR" sz="15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42" name="Metin Yer Tutucusu 117"/>
          <p:cNvSpPr>
            <a:spLocks noGrp="1"/>
          </p:cNvSpPr>
          <p:nvPr>
            <p:custDataLst>
              <p:tags r:id="rId36"/>
            </p:custDataLst>
          </p:nvPr>
        </p:nvSpPr>
        <p:spPr bwMode="gray">
          <a:xfrm>
            <a:off x="4371975" y="2206625"/>
            <a:ext cx="546100" cy="228600"/>
          </a:xfrm>
          <a:prstGeom prst="rect">
            <a:avLst/>
          </a:prstGeom>
          <a:solidFill>
            <a:srgbClr val="C30C3E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84CE975-5B6C-478D-8EB7-4BA3030D3D3A}" type="datetime'''''4''''5'',''''3''''''''''''''%'''''''''''''''''">
              <a:rPr lang="en-US" altLang="en-US" sz="1500">
                <a:solidFill>
                  <a:schemeClr val="bg1"/>
                </a:solidFill>
                <a:latin typeface="Times New Roman"/>
                <a:cs typeface="Times New Roman"/>
                <a:sym typeface="Times New Roman"/>
              </a:rPr>
              <a:pPr/>
              <a:t>45,3%</a:t>
            </a:fld>
            <a:endParaRPr lang="tr-TR" sz="1500" dirty="0">
              <a:solidFill>
                <a:schemeClr val="bg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97" name="Metin Yer Tutucusu 2"/>
          <p:cNvSpPr>
            <a:spLocks noGrp="1"/>
          </p:cNvSpPr>
          <p:nvPr>
            <p:custDataLst>
              <p:tags r:id="rId37"/>
            </p:custDataLst>
          </p:nvPr>
        </p:nvSpPr>
        <p:spPr bwMode="gray">
          <a:xfrm>
            <a:off x="6489700" y="3784600"/>
            <a:ext cx="546100" cy="228600"/>
          </a:xfrm>
          <a:prstGeom prst="rect">
            <a:avLst/>
          </a:prstGeom>
          <a:solidFill>
            <a:srgbClr val="BBCAFB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C6D209C-CFD2-49C1-BFA7-5125BBED4128}" type="datetime'''4''''''''''''''''''''9'',''''''''''''''8''''''''''%'''''''">
              <a:rPr lang="tr-TR" altLang="en-US" sz="1500">
                <a:latin typeface="Times New Roman"/>
                <a:cs typeface="Times New Roman"/>
                <a:sym typeface="Times New Roman"/>
              </a:rPr>
              <a:pPr/>
              <a:t>49,8%</a:t>
            </a:fld>
            <a:endParaRPr lang="tr-TR" sz="1500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83" name="Metin Yer Tutucusu 2"/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7543800" y="2374900"/>
            <a:ext cx="546100" cy="228600"/>
          </a:xfrm>
          <a:prstGeom prst="rect">
            <a:avLst/>
          </a:prstGeom>
          <a:solidFill>
            <a:srgbClr val="C30C3E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138C46D-213E-4F84-AFC9-0C76A7C0D042}" type="datetime'''''5''''''''''''''5'''''''''''''''''''''''''''',''7''%'''''''">
              <a:rPr lang="tr-TR" altLang="en-US" sz="1500">
                <a:solidFill>
                  <a:schemeClr val="bg1"/>
                </a:solidFill>
                <a:latin typeface="Times New Roman"/>
                <a:cs typeface="Times New Roman"/>
                <a:sym typeface="Times New Roman"/>
              </a:rPr>
              <a:pPr/>
              <a:t>55,7%</a:t>
            </a:fld>
            <a:endParaRPr lang="tr-TR" sz="1500" dirty="0">
              <a:solidFill>
                <a:schemeClr val="bg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98" name="Metin Yer Tutucusu 2"/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6489700" y="2333625"/>
            <a:ext cx="546100" cy="228600"/>
          </a:xfrm>
          <a:prstGeom prst="rect">
            <a:avLst/>
          </a:prstGeom>
          <a:solidFill>
            <a:srgbClr val="C30C3E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0C66D34A-4EEE-46AF-9F00-CB372200CAEF}" type="datetime'''''4''6'''''''''''''''',''''''5''''''''''%'''''''''">
              <a:rPr lang="tr-TR" altLang="en-US" sz="1500">
                <a:solidFill>
                  <a:schemeClr val="bg1"/>
                </a:solidFill>
                <a:latin typeface="Times New Roman"/>
                <a:cs typeface="Times New Roman"/>
                <a:sym typeface="Times New Roman"/>
              </a:rPr>
              <a:pPr/>
              <a:t>46,5%</a:t>
            </a:fld>
            <a:endParaRPr lang="tr-TR" sz="1500" dirty="0">
              <a:solidFill>
                <a:schemeClr val="bg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93" name="Metin Yer Tutucusu 2"/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5959475" y="3800475"/>
            <a:ext cx="546100" cy="228600"/>
          </a:xfrm>
          <a:prstGeom prst="rect">
            <a:avLst/>
          </a:prstGeom>
          <a:solidFill>
            <a:srgbClr val="BBCAFB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83500B6-4A4A-48C7-A6C6-4EDA6B894B06}" type="datetime'''''''4''''''''''''''''8,''''''''7''''''''%'">
              <a:rPr lang="tr-TR" altLang="en-US" sz="1500">
                <a:latin typeface="Times New Roman"/>
                <a:cs typeface="Times New Roman"/>
                <a:sym typeface="Times New Roman"/>
              </a:rPr>
              <a:pPr/>
              <a:t>48,7%</a:t>
            </a:fld>
            <a:endParaRPr lang="tr-TR" sz="1500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94" name="Metin Yer Tutucusu 2"/>
          <p:cNvSpPr>
            <a:spLocks noGrp="1"/>
          </p:cNvSpPr>
          <p:nvPr>
            <p:custDataLst>
              <p:tags r:id="rId41"/>
            </p:custDataLst>
          </p:nvPr>
        </p:nvSpPr>
        <p:spPr bwMode="gray">
          <a:xfrm>
            <a:off x="5959475" y="2368550"/>
            <a:ext cx="546100" cy="228600"/>
          </a:xfrm>
          <a:prstGeom prst="rect">
            <a:avLst/>
          </a:prstGeom>
          <a:solidFill>
            <a:srgbClr val="C30C3E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3434F2E-003C-4A40-9EA5-6EE283661DBD}" type="datetime'''4''''''''''''''''''6,''''''5''%'''''''''''''''">
              <a:rPr lang="tr-TR" altLang="en-US" sz="1500">
                <a:solidFill>
                  <a:schemeClr val="bg1"/>
                </a:solidFill>
                <a:latin typeface="Times New Roman"/>
                <a:cs typeface="Times New Roman"/>
                <a:sym typeface="Times New Roman"/>
              </a:rPr>
              <a:pPr/>
              <a:t>46,5%</a:t>
            </a:fld>
            <a:endParaRPr lang="tr-TR" sz="1500" dirty="0">
              <a:solidFill>
                <a:schemeClr val="bg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76" name="Metin Yer Tutucusu 179"/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7061200" y="4759325"/>
            <a:ext cx="457200" cy="45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8C461AD-EE48-42A7-967F-3237EDEE92EB}" type="datetime'''''''''20''''''1''''7''''''''''''-Q''''''''1'''''''''''">
              <a:rPr lang="tr-TR" altLang="en-US" sz="1500" b="1">
                <a:latin typeface="Times New Roman"/>
                <a:cs typeface="Times New Roman"/>
                <a:sym typeface="Times New Roman"/>
              </a:rPr>
              <a:pPr/>
              <a:t>2017-Q1</a:t>
            </a:fld>
            <a:endParaRPr lang="tr-TR" sz="15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80" name="Metin Yer Tutucusu 2"/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7016750" y="3870325"/>
            <a:ext cx="546100" cy="228600"/>
          </a:xfrm>
          <a:prstGeom prst="rect">
            <a:avLst/>
          </a:prstGeom>
          <a:solidFill>
            <a:srgbClr val="BBCAFB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4FDD0A1-A19F-4616-A16C-8A52EEE222C0}" type="datetime'4''''4'''''''''''''''''''',''''''''2''''''''%'''''''''">
              <a:rPr lang="tr-TR" altLang="en-US" sz="1500">
                <a:latin typeface="Times New Roman"/>
                <a:cs typeface="Times New Roman"/>
                <a:sym typeface="Times New Roman"/>
              </a:rPr>
              <a:pPr/>
              <a:t>44,2%</a:t>
            </a:fld>
            <a:endParaRPr lang="tr-TR" sz="1500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77" name="Metin Yer Tutucusu 2"/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7016750" y="2419350"/>
            <a:ext cx="546100" cy="228600"/>
          </a:xfrm>
          <a:prstGeom prst="rect">
            <a:avLst/>
          </a:prstGeom>
          <a:solidFill>
            <a:srgbClr val="C30C3E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6F65E82-A5D6-42EF-AF06-220F98306815}" type="datetime'''52'',''''''''3''%'''''''''''''''''''''''''''">
              <a:rPr lang="tr-TR" altLang="en-US" sz="1500">
                <a:solidFill>
                  <a:schemeClr val="bg1"/>
                </a:solidFill>
                <a:latin typeface="Times New Roman"/>
                <a:cs typeface="Times New Roman"/>
                <a:sym typeface="Times New Roman"/>
              </a:rPr>
              <a:pPr/>
              <a:t>52,3%</a:t>
            </a:fld>
            <a:endParaRPr lang="tr-TR" sz="1500" dirty="0">
              <a:solidFill>
                <a:schemeClr val="bg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92" name="Metin Yer Tutucusu 179"/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6565900" y="4759325"/>
            <a:ext cx="393700" cy="228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DEFEA26-F49D-4E59-A394-4C6FBEF40271}" type="datetime'2''''''''''0''''''1''''''''''''''''''''''''''''6'''''''''''''">
              <a:rPr lang="tr-TR" altLang="en-US" sz="1500" b="1">
                <a:latin typeface="Times New Roman"/>
                <a:cs typeface="Times New Roman"/>
                <a:sym typeface="Times New Roman"/>
              </a:rPr>
              <a:pPr/>
              <a:t>2016</a:t>
            </a:fld>
            <a:endParaRPr lang="tr-TR" sz="15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92" name="Metin Yer Tutucusu 178"/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4978400" y="4759325"/>
            <a:ext cx="393700" cy="228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9966244-CBBD-4B65-9905-F25F4C33434F}" type="datetime'''''2''''''''''''''''''0''''1''''''''''''''3'''''''''''''''''">
              <a:rPr lang="en-US" sz="1500" b="1">
                <a:latin typeface="Times New Roman"/>
                <a:cs typeface="Times New Roman"/>
                <a:sym typeface="Times New Roman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3</a:t>
            </a:fld>
            <a:endParaRPr lang="tr-TR" sz="15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82" name="Metin Yer Tutucusu 2"/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7543800" y="3873500"/>
            <a:ext cx="546100" cy="228600"/>
          </a:xfrm>
          <a:prstGeom prst="rect">
            <a:avLst/>
          </a:prstGeom>
          <a:solidFill>
            <a:srgbClr val="BBCAFB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32E21892-E96E-481D-9D05-BBD5CFFB6FCD}" type="datetime'''''''''''''4''''''''''''3'',8''''''''''''''''''''''%'''''">
              <a:rPr lang="tr-TR" altLang="en-US" sz="1500">
                <a:latin typeface="Times New Roman"/>
                <a:cs typeface="Times New Roman"/>
                <a:sym typeface="Times New Roman"/>
              </a:rPr>
              <a:pPr/>
              <a:t>43,8%</a:t>
            </a:fld>
            <a:endParaRPr lang="tr-TR" sz="1500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47" name="Metin Yer Tutucusu 122"/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5429250" y="3879850"/>
            <a:ext cx="546100" cy="228600"/>
          </a:xfrm>
          <a:prstGeom prst="rect">
            <a:avLst/>
          </a:prstGeom>
          <a:solidFill>
            <a:srgbClr val="BBCAFB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19053497-EC75-4997-AC48-4BF2AAE7EDCB}" type="datetime'''''''43'''''''''',''4''''''%'''''''''">
              <a:rPr lang="en-US" altLang="en-US" sz="1500">
                <a:latin typeface="Times New Roman"/>
                <a:cs typeface="Times New Roman"/>
                <a:sym typeface="Times New Roman"/>
              </a:rPr>
              <a:pPr/>
              <a:t>43,4%</a:t>
            </a:fld>
            <a:endParaRPr lang="tr-TR" sz="1500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44" name="Metin Yer Tutucusu 119"/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4902200" y="3825875"/>
            <a:ext cx="546100" cy="228600"/>
          </a:xfrm>
          <a:prstGeom prst="rect">
            <a:avLst/>
          </a:prstGeom>
          <a:solidFill>
            <a:srgbClr val="BBCAFB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81DFC71-CCAF-44D8-B93A-FD06C7E17E14}" type="datetime'''''''''''''4''''''''''''7'''',''''''''''0''%'''''''''''''''">
              <a:rPr lang="en-US" altLang="en-US" sz="1500">
                <a:latin typeface="Times New Roman"/>
                <a:cs typeface="Times New Roman"/>
                <a:sym typeface="Times New Roman"/>
              </a:rPr>
              <a:pPr/>
              <a:t>47,0%</a:t>
            </a:fld>
            <a:endParaRPr lang="tr-TR" sz="1500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91" name="Metin Yer Tutucusu 179"/>
          <p:cNvSpPr>
            <a:spLocks noGrp="1"/>
          </p:cNvSpPr>
          <p:nvPr>
            <p:custDataLst>
              <p:tags r:id="rId50"/>
            </p:custDataLst>
          </p:nvPr>
        </p:nvSpPr>
        <p:spPr bwMode="auto">
          <a:xfrm>
            <a:off x="6035675" y="4759325"/>
            <a:ext cx="393700" cy="228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82E268B3-C247-47F0-A632-E6A5822C5E1B}" type="datetime'''2''''''''0''''1''''''''''5'''''''''''''''">
              <a:rPr lang="tr-TR" altLang="en-US" sz="1500" b="1">
                <a:latin typeface="Times New Roman"/>
                <a:cs typeface="Times New Roman"/>
                <a:sym typeface="Times New Roman"/>
              </a:rPr>
              <a:pPr/>
              <a:t>2015</a:t>
            </a:fld>
            <a:endParaRPr lang="tr-TR" sz="15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91" name="Metin Yer Tutucusu 177"/>
          <p:cNvSpPr>
            <a:spLocks noGrp="1"/>
          </p:cNvSpPr>
          <p:nvPr>
            <p:custDataLst>
              <p:tags r:id="rId51"/>
            </p:custDataLst>
          </p:nvPr>
        </p:nvSpPr>
        <p:spPr bwMode="auto">
          <a:xfrm>
            <a:off x="4448175" y="4759325"/>
            <a:ext cx="393700" cy="228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612BB0E-D362-4958-8F8F-B02E60CE3057}" type="datetime'''''2''''''''''''''''''0''12'''''''''''">
              <a:rPr lang="en-US" sz="1500" b="1">
                <a:latin typeface="Times New Roman"/>
                <a:cs typeface="Times New Roman"/>
                <a:sym typeface="Times New Roman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2</a:t>
            </a:fld>
            <a:endParaRPr lang="tr-TR" sz="15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85" name="Metin Yer Tutucusu 172"/>
          <p:cNvSpPr>
            <a:spLocks noGrp="1"/>
          </p:cNvSpPr>
          <p:nvPr>
            <p:custDataLst>
              <p:tags r:id="rId52"/>
            </p:custDataLst>
          </p:nvPr>
        </p:nvSpPr>
        <p:spPr bwMode="auto">
          <a:xfrm>
            <a:off x="1803400" y="4759325"/>
            <a:ext cx="393700" cy="228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C0C249D-0D26-45D9-8D4F-E850A8CAC17C}" type="datetime'''''''''2''0''''''0''''''''''''''''''''''''''''7'''''">
              <a:rPr lang="en-US" sz="1500" b="1">
                <a:latin typeface="Times New Roman"/>
                <a:cs typeface="Times New Roman"/>
                <a:sym typeface="Times New Roman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07</a:t>
            </a:fld>
            <a:endParaRPr lang="tr-TR" sz="15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26" name="Metin Yer Tutucusu 101"/>
          <p:cNvSpPr>
            <a:spLocks noGrp="1"/>
          </p:cNvSpPr>
          <p:nvPr>
            <p:custDataLst>
              <p:tags r:id="rId53"/>
            </p:custDataLst>
          </p:nvPr>
        </p:nvSpPr>
        <p:spPr bwMode="gray">
          <a:xfrm>
            <a:off x="1727200" y="3987800"/>
            <a:ext cx="546100" cy="228600"/>
          </a:xfrm>
          <a:prstGeom prst="rect">
            <a:avLst/>
          </a:prstGeom>
          <a:solidFill>
            <a:srgbClr val="BBCAFB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C177289-8CF1-4AAF-872D-8CD99DD13CE9}" type="datetime'''''''''3''''''''''''''6'''''''''',3''''''''''''''''%'''">
              <a:rPr lang="en-US" sz="1500">
                <a:latin typeface="Times New Roman"/>
                <a:cs typeface="Times New Roman"/>
                <a:sym typeface="Times New Roman"/>
              </a:rPr>
              <a:pPr/>
              <a:t>36,3%</a:t>
            </a:fld>
            <a:endParaRPr lang="tr-TR" sz="1500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27" name="Metin Yer Tutucusu 102"/>
          <p:cNvSpPr>
            <a:spLocks noGrp="1"/>
          </p:cNvSpPr>
          <p:nvPr>
            <p:custDataLst>
              <p:tags r:id="rId54"/>
            </p:custDataLst>
          </p:nvPr>
        </p:nvSpPr>
        <p:spPr bwMode="gray">
          <a:xfrm>
            <a:off x="1727200" y="2482850"/>
            <a:ext cx="546100" cy="228600"/>
          </a:xfrm>
          <a:prstGeom prst="rect">
            <a:avLst/>
          </a:prstGeom>
          <a:solidFill>
            <a:srgbClr val="C30C3E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0FC9BD2-6B0D-4058-94DE-721344542832}" type="datetime'''''6''3'''''''''''''''',''''''7%'">
              <a:rPr lang="en-US" sz="1500">
                <a:solidFill>
                  <a:schemeClr val="bg1"/>
                </a:solidFill>
                <a:latin typeface="Times New Roman"/>
                <a:cs typeface="Times New Roman"/>
                <a:sym typeface="Times New Roman"/>
              </a:rPr>
              <a:pPr/>
              <a:t>63,7%</a:t>
            </a:fld>
            <a:endParaRPr lang="tr-TR" sz="1500" dirty="0">
              <a:solidFill>
                <a:schemeClr val="bg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86" name="Metin Yer Tutucusu 173"/>
          <p:cNvSpPr>
            <a:spLocks noGrp="1"/>
          </p:cNvSpPr>
          <p:nvPr>
            <p:custDataLst>
              <p:tags r:id="rId55"/>
            </p:custDataLst>
          </p:nvPr>
        </p:nvSpPr>
        <p:spPr bwMode="auto">
          <a:xfrm>
            <a:off x="2330450" y="4759325"/>
            <a:ext cx="393700" cy="228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920072A-999E-42F0-820C-2C0006F90866}" type="datetime'''''''''''''2''''''''''0''''0''''''''''8'''''''''''''''">
              <a:rPr lang="en-US" sz="1500" b="1">
                <a:latin typeface="Times New Roman"/>
                <a:cs typeface="Times New Roman"/>
                <a:sym typeface="Times New Roman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08</a:t>
            </a:fld>
            <a:endParaRPr lang="tr-TR" sz="15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83" name="Metin Yer Tutucusu 171"/>
          <p:cNvSpPr>
            <a:spLocks noGrp="1"/>
          </p:cNvSpPr>
          <p:nvPr>
            <p:custDataLst>
              <p:tags r:id="rId56"/>
            </p:custDataLst>
          </p:nvPr>
        </p:nvSpPr>
        <p:spPr bwMode="auto">
          <a:xfrm>
            <a:off x="1276350" y="4759325"/>
            <a:ext cx="393700" cy="228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32D8F4A-704D-4963-9DE9-8394F6BA8DEE}" type="datetime'''''''''''2''''''''''0''''''0''''''''6'''''''''''''''''''''">
              <a:rPr lang="en-US" sz="1500" b="1">
                <a:latin typeface="Times New Roman"/>
                <a:cs typeface="Times New Roman"/>
                <a:sym typeface="Times New Roman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06</a:t>
            </a:fld>
            <a:endParaRPr lang="tr-TR" sz="15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24" name="Metin Yer Tutucusu 99"/>
          <p:cNvSpPr>
            <a:spLocks noGrp="1"/>
          </p:cNvSpPr>
          <p:nvPr>
            <p:custDataLst>
              <p:tags r:id="rId57"/>
            </p:custDataLst>
          </p:nvPr>
        </p:nvSpPr>
        <p:spPr bwMode="gray">
          <a:xfrm>
            <a:off x="1200150" y="2435225"/>
            <a:ext cx="546100" cy="228600"/>
          </a:xfrm>
          <a:prstGeom prst="rect">
            <a:avLst/>
          </a:prstGeom>
          <a:solidFill>
            <a:srgbClr val="C30C3E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F01CE67-38CC-47EC-983F-0E8700069E5A}" type="datetime'6''''0'''''''''''''',''''''''6''''''''''''''''''''''''''%'''''">
              <a:rPr lang="en-US" sz="1500">
                <a:solidFill>
                  <a:schemeClr val="bg1"/>
                </a:solidFill>
                <a:latin typeface="Times New Roman"/>
                <a:cs typeface="Times New Roman"/>
                <a:sym typeface="Times New Roman"/>
              </a:rPr>
              <a:pPr/>
              <a:t>60,6%</a:t>
            </a:fld>
            <a:endParaRPr lang="tr-TR" sz="1500" dirty="0">
              <a:solidFill>
                <a:schemeClr val="bg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82" name="Metin Yer Tutucusu 170"/>
          <p:cNvSpPr>
            <a:spLocks noGrp="1"/>
          </p:cNvSpPr>
          <p:nvPr>
            <p:custDataLst>
              <p:tags r:id="rId58"/>
            </p:custDataLst>
          </p:nvPr>
        </p:nvSpPr>
        <p:spPr bwMode="auto">
          <a:xfrm>
            <a:off x="746125" y="4759325"/>
            <a:ext cx="393700" cy="228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7B2792C-6ACF-42A7-A7EE-B0A8331D1881}" type="datetime'''''''''''''''''''''''''''''2''''''''''''''''0''''''0''5'">
              <a:rPr lang="en-US" sz="1500" b="1">
                <a:latin typeface="Times New Roman"/>
                <a:cs typeface="Times New Roman"/>
                <a:sym typeface="Times New Roman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05</a:t>
            </a:fld>
            <a:endParaRPr lang="tr-TR" sz="15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38" name="Metin Yer Tutucusu 113"/>
          <p:cNvSpPr>
            <a:spLocks noGrp="1"/>
          </p:cNvSpPr>
          <p:nvPr>
            <p:custDataLst>
              <p:tags r:id="rId59"/>
            </p:custDataLst>
          </p:nvPr>
        </p:nvSpPr>
        <p:spPr bwMode="gray">
          <a:xfrm>
            <a:off x="3841750" y="3990975"/>
            <a:ext cx="546100" cy="228600"/>
          </a:xfrm>
          <a:prstGeom prst="rect">
            <a:avLst/>
          </a:prstGeom>
          <a:solidFill>
            <a:srgbClr val="BBCAFB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626CAAC0-E4EB-4109-A5A9-8FF71ED7C3E0}" type="datetime'''''''''''''3''6,''''''''''''''''2''''''''''''''''%'''''''''">
              <a:rPr lang="en-US" altLang="en-US" sz="1500">
                <a:latin typeface="Times New Roman"/>
                <a:cs typeface="Times New Roman"/>
                <a:sym typeface="Times New Roman"/>
              </a:rPr>
              <a:pPr/>
              <a:t>36,2%</a:t>
            </a:fld>
            <a:endParaRPr lang="tr-TR" sz="1500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23" name="Metin Yer Tutucusu 98"/>
          <p:cNvSpPr>
            <a:spLocks noGrp="1"/>
          </p:cNvSpPr>
          <p:nvPr>
            <p:custDataLst>
              <p:tags r:id="rId60"/>
            </p:custDataLst>
          </p:nvPr>
        </p:nvSpPr>
        <p:spPr bwMode="gray">
          <a:xfrm>
            <a:off x="1200150" y="3940175"/>
            <a:ext cx="546100" cy="228600"/>
          </a:xfrm>
          <a:prstGeom prst="rect">
            <a:avLst/>
          </a:prstGeom>
          <a:solidFill>
            <a:srgbClr val="BBCAFB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C0CE37B-E950-46B4-B5B8-5C5B02786015}" type="datetime'3''''9'''''''',''''''''4''''''''%'''''''''''''">
              <a:rPr lang="en-US" sz="1500">
                <a:latin typeface="Times New Roman"/>
                <a:cs typeface="Times New Roman"/>
                <a:sym typeface="Times New Roman"/>
              </a:rPr>
              <a:pPr/>
              <a:t>39,4%</a:t>
            </a:fld>
            <a:endParaRPr lang="tr-TR" sz="1500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90" name="Metin Yer Tutucusu 176"/>
          <p:cNvSpPr>
            <a:spLocks noGrp="1"/>
          </p:cNvSpPr>
          <p:nvPr>
            <p:custDataLst>
              <p:tags r:id="rId61"/>
            </p:custDataLst>
          </p:nvPr>
        </p:nvSpPr>
        <p:spPr bwMode="auto">
          <a:xfrm>
            <a:off x="3924300" y="4759325"/>
            <a:ext cx="382588" cy="228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2590C3B-7429-46F3-A3E1-041E00AA5DF2}" type="datetime'''''2''''''''''''''01''1'''''''''">
              <a:rPr lang="en-US" sz="1500" b="1">
                <a:latin typeface="Times New Roman"/>
                <a:cs typeface="Times New Roman"/>
                <a:sym typeface="Times New Roman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1</a:t>
            </a:fld>
            <a:endParaRPr lang="tr-TR" sz="15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36" name="Metin Yer Tutucusu 111"/>
          <p:cNvSpPr>
            <a:spLocks noGrp="1"/>
          </p:cNvSpPr>
          <p:nvPr>
            <p:custDataLst>
              <p:tags r:id="rId62"/>
            </p:custDataLst>
          </p:nvPr>
        </p:nvSpPr>
        <p:spPr bwMode="gray">
          <a:xfrm>
            <a:off x="3314700" y="2644775"/>
            <a:ext cx="546100" cy="228600"/>
          </a:xfrm>
          <a:prstGeom prst="rect">
            <a:avLst/>
          </a:prstGeom>
          <a:solidFill>
            <a:srgbClr val="C30C3E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B89DC53-C94B-4475-8152-AE229A81B501}" type="datetime'''''''''''''''''''''''7''''4'',''0''''%'''''''''">
              <a:rPr lang="en-US" altLang="en-US" sz="1500">
                <a:solidFill>
                  <a:schemeClr val="bg1"/>
                </a:solidFill>
                <a:latin typeface="Times New Roman"/>
                <a:cs typeface="Times New Roman"/>
                <a:sym typeface="Times New Roman"/>
              </a:rPr>
              <a:pPr/>
              <a:t>74,0%</a:t>
            </a:fld>
            <a:endParaRPr lang="tr-TR" sz="1500" dirty="0">
              <a:solidFill>
                <a:schemeClr val="bg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87" name="Metin Yer Tutucusu 174"/>
          <p:cNvSpPr>
            <a:spLocks noGrp="1"/>
          </p:cNvSpPr>
          <p:nvPr>
            <p:custDataLst>
              <p:tags r:id="rId63"/>
            </p:custDataLst>
          </p:nvPr>
        </p:nvSpPr>
        <p:spPr bwMode="auto">
          <a:xfrm>
            <a:off x="2860675" y="4759325"/>
            <a:ext cx="393700" cy="228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92F6285-EEEA-46E5-BC8C-2F8767ACC2E0}" type="datetime'''''''''''2''''''''''''''''''''''00''''''''''9'''''''">
              <a:rPr lang="en-US" sz="1500" b="1">
                <a:latin typeface="Times New Roman"/>
                <a:cs typeface="Times New Roman"/>
                <a:sym typeface="Times New Roman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09</a:t>
            </a:fld>
            <a:endParaRPr lang="tr-TR" sz="15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32" name="Metin Yer Tutucusu 107"/>
          <p:cNvSpPr>
            <a:spLocks noGrp="1"/>
          </p:cNvSpPr>
          <p:nvPr>
            <p:custDataLst>
              <p:tags r:id="rId64"/>
            </p:custDataLst>
          </p:nvPr>
        </p:nvSpPr>
        <p:spPr bwMode="gray">
          <a:xfrm>
            <a:off x="2784475" y="3949700"/>
            <a:ext cx="546100" cy="228600"/>
          </a:xfrm>
          <a:prstGeom prst="rect">
            <a:avLst/>
          </a:prstGeom>
          <a:solidFill>
            <a:srgbClr val="BBCAFB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D704293-8309-4E02-B9D7-49D410612E7D}" type="datetime'38'''''''''',''''9%'''''''''''''''''''''''''">
              <a:rPr lang="en-US" sz="1500">
                <a:latin typeface="Times New Roman"/>
                <a:cs typeface="Times New Roman"/>
                <a:sym typeface="Times New Roman"/>
              </a:rPr>
              <a:pPr/>
              <a:t>38,9%</a:t>
            </a:fld>
            <a:endParaRPr lang="tr-TR" sz="1500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33" name="Metin Yer Tutucusu 108"/>
          <p:cNvSpPr>
            <a:spLocks noGrp="1"/>
          </p:cNvSpPr>
          <p:nvPr>
            <p:custDataLst>
              <p:tags r:id="rId65"/>
            </p:custDataLst>
          </p:nvPr>
        </p:nvSpPr>
        <p:spPr bwMode="gray">
          <a:xfrm>
            <a:off x="2784475" y="2447925"/>
            <a:ext cx="546100" cy="228600"/>
          </a:xfrm>
          <a:prstGeom prst="rect">
            <a:avLst/>
          </a:prstGeom>
          <a:solidFill>
            <a:srgbClr val="C30C3E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B7FFAEA-6A57-4EBF-BF1C-7667F6A4D77F}" type="datetime'''''''''''6''''''''''0'''''''''''''''''''',''''9%'''''">
              <a:rPr lang="en-US" sz="1500">
                <a:solidFill>
                  <a:schemeClr val="bg1"/>
                </a:solidFill>
                <a:latin typeface="Times New Roman"/>
                <a:cs typeface="Times New Roman"/>
                <a:sym typeface="Times New Roman"/>
              </a:rPr>
              <a:pPr/>
              <a:t>60,9%</a:t>
            </a:fld>
            <a:endParaRPr lang="tr-TR" sz="1500" dirty="0">
              <a:solidFill>
                <a:schemeClr val="bg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39" name="Metin Yer Tutucusu 114"/>
          <p:cNvSpPr>
            <a:spLocks noGrp="1"/>
          </p:cNvSpPr>
          <p:nvPr>
            <p:custDataLst>
              <p:tags r:id="rId66"/>
            </p:custDataLst>
          </p:nvPr>
        </p:nvSpPr>
        <p:spPr bwMode="gray">
          <a:xfrm>
            <a:off x="3841750" y="2489200"/>
            <a:ext cx="546100" cy="228600"/>
          </a:xfrm>
          <a:prstGeom prst="rect">
            <a:avLst/>
          </a:prstGeom>
          <a:solidFill>
            <a:srgbClr val="C30C3E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AAB07258-6FA7-4E8A-8A99-FE37B8CC5B22}" type="datetime'63'',''7''''''''%'''''''''''''''''''''''''''">
              <a:rPr lang="en-US" altLang="en-US" sz="1500">
                <a:solidFill>
                  <a:schemeClr val="bg1"/>
                </a:solidFill>
                <a:latin typeface="Times New Roman"/>
                <a:cs typeface="Times New Roman"/>
                <a:sym typeface="Times New Roman"/>
              </a:rPr>
              <a:pPr/>
              <a:t>63,7%</a:t>
            </a:fld>
            <a:endParaRPr lang="tr-TR" sz="1500" dirty="0">
              <a:solidFill>
                <a:schemeClr val="bg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88" name="Metin Yer Tutucusu 175"/>
          <p:cNvSpPr>
            <a:spLocks noGrp="1"/>
          </p:cNvSpPr>
          <p:nvPr>
            <p:custDataLst>
              <p:tags r:id="rId67"/>
            </p:custDataLst>
          </p:nvPr>
        </p:nvSpPr>
        <p:spPr bwMode="auto">
          <a:xfrm>
            <a:off x="3390900" y="4759325"/>
            <a:ext cx="393700" cy="228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EE9FD00-A656-406A-A7DD-A73A37D0D506}" type="datetime'''20''''''''''''''''''''''''''''''''1''''''''''''''''''''0'''">
              <a:rPr lang="en-US" sz="1500" b="1">
                <a:latin typeface="Times New Roman"/>
                <a:cs typeface="Times New Roman"/>
                <a:sym typeface="Times New Roman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10</a:t>
            </a:fld>
            <a:endParaRPr lang="tr-TR" sz="15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35" name="Metin Yer Tutucusu 110"/>
          <p:cNvSpPr>
            <a:spLocks noGrp="1"/>
          </p:cNvSpPr>
          <p:nvPr>
            <p:custDataLst>
              <p:tags r:id="rId68"/>
            </p:custDataLst>
          </p:nvPr>
        </p:nvSpPr>
        <p:spPr bwMode="gray">
          <a:xfrm>
            <a:off x="3314700" y="4146550"/>
            <a:ext cx="546100" cy="228600"/>
          </a:xfrm>
          <a:prstGeom prst="rect">
            <a:avLst/>
          </a:prstGeom>
          <a:solidFill>
            <a:srgbClr val="BBCAFB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FB2EC16-FCBB-44B9-8BFE-F33F681C5ECF}" type="datetime'''''''''''2''''''''''5,''8''''''''''''''''''%'">
              <a:rPr lang="en-US" sz="1500">
                <a:latin typeface="Times New Roman"/>
                <a:cs typeface="Times New Roman"/>
                <a:sym typeface="Times New Roman"/>
              </a:rPr>
              <a:pPr/>
              <a:t>25,8%</a:t>
            </a:fld>
            <a:endParaRPr lang="tr-TR" sz="1500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29" name="Metin Yer Tutucusu 104"/>
          <p:cNvSpPr>
            <a:spLocks noGrp="1"/>
          </p:cNvSpPr>
          <p:nvPr>
            <p:custDataLst>
              <p:tags r:id="rId69"/>
            </p:custDataLst>
          </p:nvPr>
        </p:nvSpPr>
        <p:spPr bwMode="gray">
          <a:xfrm>
            <a:off x="2254250" y="4111625"/>
            <a:ext cx="546100" cy="228600"/>
          </a:xfrm>
          <a:prstGeom prst="rect">
            <a:avLst/>
          </a:prstGeom>
          <a:solidFill>
            <a:srgbClr val="BBCAFB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0380B5E-CE83-43F3-9395-A5A642365EE3}" type="datetime'''''''''''''''2''''8'',''''''''''''''2''''''''''%'''''''''">
              <a:rPr lang="en-US" sz="1500">
                <a:latin typeface="Times New Roman"/>
                <a:cs typeface="Times New Roman"/>
                <a:sym typeface="Times New Roman"/>
              </a:rPr>
              <a:pPr/>
              <a:t>28,2%</a:t>
            </a:fld>
            <a:endParaRPr lang="tr-TR" sz="1500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30" name="Metin Yer Tutucusu 105"/>
          <p:cNvSpPr>
            <a:spLocks noGrp="1"/>
          </p:cNvSpPr>
          <p:nvPr>
            <p:custDataLst>
              <p:tags r:id="rId70"/>
            </p:custDataLst>
          </p:nvPr>
        </p:nvSpPr>
        <p:spPr bwMode="gray">
          <a:xfrm>
            <a:off x="2254250" y="2606675"/>
            <a:ext cx="546100" cy="228600"/>
          </a:xfrm>
          <a:prstGeom prst="rect">
            <a:avLst/>
          </a:prstGeom>
          <a:solidFill>
            <a:srgbClr val="C30C3E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743CA61-6F86-49BD-A3C6-AB8B16FFC65A}" type="datetime'''7''1'''''''''''''',''''''''8''%'''''''">
              <a:rPr lang="en-US" sz="1500">
                <a:solidFill>
                  <a:schemeClr val="bg1"/>
                </a:solidFill>
                <a:latin typeface="Times New Roman"/>
                <a:cs typeface="Times New Roman"/>
                <a:sym typeface="Times New Roman"/>
              </a:rPr>
              <a:pPr/>
              <a:t>71,8%</a:t>
            </a:fld>
            <a:endParaRPr lang="tr-TR" sz="1500" dirty="0">
              <a:solidFill>
                <a:schemeClr val="bg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21" name="Metin Yer Tutucusu 96"/>
          <p:cNvSpPr>
            <a:spLocks noGrp="1"/>
          </p:cNvSpPr>
          <p:nvPr>
            <p:custDataLst>
              <p:tags r:id="rId71"/>
            </p:custDataLst>
          </p:nvPr>
        </p:nvSpPr>
        <p:spPr bwMode="gray">
          <a:xfrm>
            <a:off x="669925" y="2292350"/>
            <a:ext cx="546100" cy="228600"/>
          </a:xfrm>
          <a:prstGeom prst="rect">
            <a:avLst/>
          </a:prstGeom>
          <a:solidFill>
            <a:srgbClr val="C30C3E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A5156AD-E6C1-47FF-92BA-A71E90510980}" type="datetime'''''5''''''''''1'''''''''''''',''''0''''''''''''%'">
              <a:rPr lang="en-US" sz="1500">
                <a:solidFill>
                  <a:schemeClr val="bg1"/>
                </a:solidFill>
                <a:latin typeface="Times New Roman"/>
                <a:cs typeface="Times New Roman"/>
                <a:sym typeface="Times New Roman"/>
              </a:rPr>
              <a:pPr/>
              <a:t>51,0%</a:t>
            </a:fld>
            <a:endParaRPr lang="tr-TR" sz="1500" dirty="0">
              <a:solidFill>
                <a:schemeClr val="bg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21" name="Metin Yer Tutucusu 29"/>
          <p:cNvSpPr>
            <a:spLocks noGrp="1"/>
          </p:cNvSpPr>
          <p:nvPr>
            <p:custDataLst>
              <p:tags r:id="rId72"/>
            </p:custDataLst>
          </p:nvPr>
        </p:nvSpPr>
        <p:spPr bwMode="gray">
          <a:xfrm>
            <a:off x="139700" y="2593975"/>
            <a:ext cx="546100" cy="228600"/>
          </a:xfrm>
          <a:prstGeom prst="rect">
            <a:avLst/>
          </a:prstGeom>
          <a:solidFill>
            <a:srgbClr val="C30C3E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9DD3A5F3-278A-40F6-A64E-DBDAC8B4FA10}" type="datetime'7''''''''''1'''''''''''',''''''''''''''''1''''''''''%'">
              <a:rPr lang="en-US" sz="1500">
                <a:solidFill>
                  <a:schemeClr val="bg1"/>
                </a:solidFill>
                <a:latin typeface="Times New Roman"/>
                <a:cs typeface="Times New Roman"/>
                <a:sym typeface="Times New Roman"/>
              </a:rPr>
              <a:pPr/>
              <a:t>71,1%</a:t>
            </a:fld>
            <a:endParaRPr lang="tr-TR" sz="1500" dirty="0">
              <a:solidFill>
                <a:schemeClr val="bg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81" name="Metin Yer Tutucusu 169"/>
          <p:cNvSpPr>
            <a:spLocks noGrp="1"/>
          </p:cNvSpPr>
          <p:nvPr>
            <p:custDataLst>
              <p:tags r:id="rId73"/>
            </p:custDataLst>
          </p:nvPr>
        </p:nvSpPr>
        <p:spPr bwMode="auto">
          <a:xfrm>
            <a:off x="215900" y="4759325"/>
            <a:ext cx="393700" cy="228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47D562F-7D60-4915-8DDB-FCC61A62761A}" type="datetime'''''''''''''''''''20''''''''''''''''0''''''''''''''4'''''''">
              <a:rPr lang="en-US" sz="1500" b="1">
                <a:latin typeface="Times New Roman"/>
                <a:cs typeface="Times New Roman"/>
                <a:sym typeface="Times New Roman"/>
              </a:rPr>
              <a:pPr marL="0" indent="0" algn="ctr">
                <a:spcBef>
                  <a:spcPct val="0"/>
                </a:spcBef>
                <a:spcAft>
                  <a:spcPct val="0"/>
                </a:spcAft>
                <a:buNone/>
              </a:pPr>
              <a:t>2004</a:t>
            </a:fld>
            <a:endParaRPr lang="tr-TR" sz="15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79" name="Metin Yer Tutucusu 2"/>
          <p:cNvSpPr>
            <a:spLocks noGrp="1"/>
          </p:cNvSpPr>
          <p:nvPr>
            <p:custDataLst>
              <p:tags r:id="rId74"/>
            </p:custDataLst>
          </p:nvPr>
        </p:nvSpPr>
        <p:spPr bwMode="gray">
          <a:xfrm>
            <a:off x="8604250" y="2546350"/>
            <a:ext cx="546100" cy="228600"/>
          </a:xfrm>
          <a:prstGeom prst="rect">
            <a:avLst/>
          </a:prstGeom>
          <a:solidFill>
            <a:srgbClr val="C30C3E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4DB7B4F-6A72-4006-8D77-851DAFBFAC9D}" type="datetime'''''''''''''''''''''''''''''''''6''''5'''''',''0%'''">
              <a:rPr lang="tr-TR" altLang="en-US" sz="1500">
                <a:solidFill>
                  <a:schemeClr val="bg1"/>
                </a:solidFill>
                <a:latin typeface="Times New Roman"/>
                <a:cs typeface="Times New Roman"/>
                <a:sym typeface="Times New Roman"/>
              </a:rPr>
              <a:pPr/>
              <a:t>65,0%</a:t>
            </a:fld>
            <a:endParaRPr lang="tr-TR" sz="1500" dirty="0">
              <a:solidFill>
                <a:schemeClr val="bg1"/>
              </a:solidFill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120" name="Metin Yer Tutucusu 95"/>
          <p:cNvSpPr>
            <a:spLocks noGrp="1"/>
          </p:cNvSpPr>
          <p:nvPr>
            <p:custDataLst>
              <p:tags r:id="rId75"/>
            </p:custDataLst>
          </p:nvPr>
        </p:nvSpPr>
        <p:spPr bwMode="gray">
          <a:xfrm>
            <a:off x="669925" y="3797300"/>
            <a:ext cx="546100" cy="228600"/>
          </a:xfrm>
          <a:prstGeom prst="rect">
            <a:avLst/>
          </a:prstGeom>
          <a:solidFill>
            <a:srgbClr val="BBCAFB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FC99E4D-528F-4ACD-BBC2-38FE6D4CBC1E}" type="datetime'''''''''''''''''''''4''''''9,''''''''''''''0%'''''">
              <a:rPr lang="en-US" sz="1500">
                <a:latin typeface="Times New Roman"/>
                <a:cs typeface="Times New Roman"/>
                <a:sym typeface="Times New Roman"/>
              </a:rPr>
              <a:pPr/>
              <a:t>49,0%</a:t>
            </a:fld>
            <a:endParaRPr lang="tr-TR" sz="1500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75" name="Metin Yer Tutucusu 179"/>
          <p:cNvSpPr>
            <a:spLocks noGrp="1"/>
          </p:cNvSpPr>
          <p:nvPr>
            <p:custDataLst>
              <p:tags r:id="rId76"/>
            </p:custDataLst>
          </p:nvPr>
        </p:nvSpPr>
        <p:spPr bwMode="auto">
          <a:xfrm>
            <a:off x="8607425" y="4759325"/>
            <a:ext cx="541338" cy="4572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0558328-3E84-40F1-A80F-3A2607221A0B}" type="datetime'''''''2''''0''''''''1''''7''''''''''''''-''K''as''ı''''m'">
              <a:rPr lang="tr-TR" altLang="en-US" sz="1500" b="1">
                <a:latin typeface="Times New Roman"/>
                <a:cs typeface="Times New Roman"/>
                <a:sym typeface="Times New Roman"/>
              </a:rPr>
              <a:pPr/>
              <a:t>2017-Kasım</a:t>
            </a:fld>
            <a:endParaRPr lang="tr-TR" sz="1500" b="1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20" name="Metin Yer Tutucusu 28"/>
          <p:cNvSpPr>
            <a:spLocks noGrp="1"/>
          </p:cNvSpPr>
          <p:nvPr>
            <p:custDataLst>
              <p:tags r:id="rId77"/>
            </p:custDataLst>
          </p:nvPr>
        </p:nvSpPr>
        <p:spPr bwMode="gray">
          <a:xfrm>
            <a:off x="139700" y="4098925"/>
            <a:ext cx="546100" cy="228600"/>
          </a:xfrm>
          <a:prstGeom prst="rect">
            <a:avLst/>
          </a:prstGeom>
          <a:solidFill>
            <a:srgbClr val="BBCAFB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D9A00467-A971-4A96-B0A8-2FCDBBA2935E}" type="datetime'''''''2''''''''8'''''''''''''''''''''''',9''''''''%'''''''">
              <a:rPr lang="en-US" sz="1500">
                <a:latin typeface="Times New Roman"/>
                <a:cs typeface="Times New Roman"/>
                <a:sym typeface="Times New Roman"/>
              </a:rPr>
              <a:pPr/>
              <a:t>28,9%</a:t>
            </a:fld>
            <a:endParaRPr lang="tr-TR" sz="1500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78" name="Metin Yer Tutucusu 2"/>
          <p:cNvSpPr>
            <a:spLocks noGrp="1"/>
          </p:cNvSpPr>
          <p:nvPr>
            <p:custDataLst>
              <p:tags r:id="rId78"/>
            </p:custDataLst>
          </p:nvPr>
        </p:nvSpPr>
        <p:spPr bwMode="gray">
          <a:xfrm>
            <a:off x="8604250" y="4029075"/>
            <a:ext cx="546100" cy="228600"/>
          </a:xfrm>
          <a:prstGeom prst="rect">
            <a:avLst/>
          </a:prstGeom>
          <a:solidFill>
            <a:srgbClr val="BBCAFB"/>
          </a:solidFill>
        </p:spPr>
        <p:txBody>
          <a:bodyPr vert="horz" wrap="none" lIns="26988" tIns="0" rIns="26988" bIns="0" numCol="1" spcCol="0" rtlCol="0" anchor="ctr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EB57A9C6-974E-4D49-A552-D999546FD8D5}" type="datetime'''''''''''3''''''''''''''''''3'''''''''''''''''',5%'''''''">
              <a:rPr lang="tr-TR" altLang="en-US" sz="1500">
                <a:latin typeface="Times New Roman"/>
                <a:cs typeface="Times New Roman"/>
                <a:sym typeface="Times New Roman"/>
              </a:rPr>
              <a:pPr/>
              <a:t>33,5%</a:t>
            </a:fld>
            <a:endParaRPr lang="tr-TR" sz="1500" dirty="0">
              <a:latin typeface="Times New Roman"/>
              <a:cs typeface="Times New Roman"/>
              <a:sym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19512936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Nesne 2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0786789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64" name="think-cell Slide" r:id="rId18" imgW="416" imgH="416" progId="TCLayout.ActiveDocument.1">
                  <p:embed/>
                </p:oleObj>
              </mc:Choice>
              <mc:Fallback>
                <p:oleObj name="think-cell Slide" r:id="rId18" imgW="416" imgH="4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ikdörtgen 2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tr-TR" sz="1600" dirty="0">
              <a:latin typeface="Times New Roman"/>
              <a:cs typeface="Times New Roman"/>
              <a:sym typeface="Times New Roman"/>
            </a:endParaRPr>
          </a:p>
        </p:txBody>
      </p:sp>
      <p:graphicFrame>
        <p:nvGraphicFramePr>
          <p:cNvPr id="5" name="Nesne 4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246182575"/>
              </p:ext>
            </p:extLst>
          </p:nvPr>
        </p:nvGraphicFramePr>
        <p:xfrm>
          <a:off x="0" y="1308100"/>
          <a:ext cx="9220148" cy="344188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65" name="Çizelge" r:id="rId20" imgW="9220148" imgH="3441885" progId="MSGraph.Chart.8">
                  <p:embed followColorScheme="full"/>
                </p:oleObj>
              </mc:Choice>
              <mc:Fallback>
                <p:oleObj name="Çizelge" r:id="rId20" imgW="9220148" imgH="3441885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0" y="1308100"/>
                        <a:ext cx="9220148" cy="344188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8" name="Metin Yer Tutucusu 207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7693025" y="4716463"/>
            <a:ext cx="522288" cy="488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88A9B93-A914-4A80-B9CA-82472AACF920}" type="datetime'''E''''''k''''i''''''m''-''2''01''''''''''8'''''''''''''''''">
              <a:rPr lang="en-US" altLang="en-US" sz="1600">
                <a:latin typeface="Times New Roman"/>
                <a:cs typeface="Times New Roman"/>
                <a:sym typeface="Times New Roman"/>
              </a:rPr>
              <a:pPr/>
              <a:t>Ekim-2018</a:t>
            </a:fld>
            <a:endParaRPr lang="tr-TR" sz="1600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76" name="Metin Yer Tutucusu 205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6094413" y="4716463"/>
            <a:ext cx="747713" cy="488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F6D6BBE0-DD48-48B0-932E-B763FB2C45A7}" type="datetime'''Ağ''u''s''''t''''o''''s''-''''''''''2''''''018'''''''''''">
              <a:rPr lang="en-US" altLang="en-US" sz="1600">
                <a:latin typeface="Times New Roman"/>
                <a:cs typeface="Times New Roman"/>
                <a:sym typeface="Times New Roman"/>
              </a:rPr>
              <a:pPr/>
              <a:t>Ağustos-2018</a:t>
            </a:fld>
            <a:endParaRPr lang="tr-TR" sz="1600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72" name="Metin Yer Tutucusu 201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3217863" y="4716463"/>
            <a:ext cx="555625" cy="488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C3C7A4DC-E3B0-4798-BFC4-73E6BC9BAFB4}" type="datetime'''''''''''N''''''i''''''s''''''''a''''n-''2018'''''">
              <a:rPr lang="en-US" altLang="en-US" sz="1600">
                <a:latin typeface="Times New Roman"/>
                <a:cs typeface="Times New Roman"/>
                <a:sym typeface="Times New Roman"/>
              </a:rPr>
              <a:pPr/>
              <a:t>Nisan-2018</a:t>
            </a:fld>
            <a:endParaRPr lang="tr-TR" sz="1600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73" name="Metin Yer Tutucusu 202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3943350" y="4716463"/>
            <a:ext cx="590550" cy="488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B77E8839-3F6C-44A0-BDC8-599F3A377C0F}" type="datetime'''''M''''ay''''''''''''''''''''''''ı''s''-2''0''''1''''''8'">
              <a:rPr lang="en-US" altLang="en-US" sz="1600">
                <a:latin typeface="Times New Roman"/>
                <a:cs typeface="Times New Roman"/>
                <a:sym typeface="Times New Roman"/>
              </a:rPr>
              <a:pPr/>
              <a:t>Mayıs-2018</a:t>
            </a:fld>
            <a:endParaRPr lang="tr-TR" sz="1600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71" name="Metin Yer Tutucusu 200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2514600" y="4716463"/>
            <a:ext cx="477838" cy="488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2AD9225-0A00-4FC0-B112-57CDE485DD51}" type="datetime'''M''''''a''''''r''''''''''''''''''t-''2''''''01''''''''8'">
              <a:rPr lang="en-US" altLang="en-US" sz="1600">
                <a:latin typeface="Times New Roman"/>
                <a:cs typeface="Times New Roman"/>
                <a:sym typeface="Times New Roman"/>
              </a:rPr>
              <a:pPr/>
              <a:t>Mart-2018</a:t>
            </a:fld>
            <a:endParaRPr lang="tr-TR" sz="1600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29" name="Metin Yer Tutucusu 12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8389938" y="4716463"/>
            <a:ext cx="612775" cy="488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774F7BB5-47B4-4D65-9540-1EB9F4E4C877}" type="datetime'''''''K''''''''a''''s''''ım''''-''2''''''''''''''''0''1''8'">
              <a:rPr lang="en-US" altLang="en-US" sz="1600">
                <a:latin typeface="Times New Roman"/>
                <a:cs typeface="Times New Roman"/>
                <a:sym typeface="Times New Roman"/>
              </a:rPr>
              <a:pPr/>
              <a:t>Kasım-2018</a:t>
            </a:fld>
            <a:endParaRPr lang="tr-TR" sz="1600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74" name="Metin Yer Tutucusu 203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4619625" y="4716463"/>
            <a:ext cx="725488" cy="488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BFF7F7B-C03C-4EFD-A9F2-697EC3257509}" type="datetime'''Ha''z''''''i''''''''''''r''a''n''''-20''''1''''''8'''''''">
              <a:rPr lang="en-US" altLang="en-US" sz="1600">
                <a:latin typeface="Times New Roman"/>
                <a:cs typeface="Times New Roman"/>
                <a:sym typeface="Times New Roman"/>
              </a:rPr>
              <a:pPr/>
              <a:t>Haziran-2018</a:t>
            </a:fld>
            <a:endParaRPr lang="tr-TR" sz="1600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75" name="Metin Yer Tutucusu 204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5329238" y="4716463"/>
            <a:ext cx="790575" cy="488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3815146-6B6C-459F-9268-96C0BD80104F}" type="datetime'''''Tem''''''''''''''m''''uz''''''''-''''2''''''0''1''''8'''''">
              <a:rPr lang="en-US" altLang="en-US" sz="1600">
                <a:latin typeface="Times New Roman"/>
                <a:cs typeface="Times New Roman"/>
                <a:sym typeface="Times New Roman"/>
              </a:rPr>
              <a:pPr/>
              <a:t>Temmuz-2018</a:t>
            </a:fld>
            <a:endParaRPr lang="tr-TR" sz="1600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77" name="Metin Yer Tutucusu 206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6950075" y="4716463"/>
            <a:ext cx="522288" cy="488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D1C34CD-2939-4291-8284-AA05E3B6BC76}" type="datetime'''''''''''''''''''E''y''lü''''''''''''''l-2''''01''8'''''">
              <a:rPr lang="en-US" altLang="en-US" sz="1600">
                <a:latin typeface="Times New Roman"/>
                <a:cs typeface="Times New Roman"/>
                <a:sym typeface="Times New Roman"/>
              </a:rPr>
              <a:pPr/>
              <a:t>Eylül-2018</a:t>
            </a:fld>
            <a:endParaRPr lang="tr-TR" sz="1600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68" name="Metin Yer Tutucusu 198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1012825" y="4716463"/>
            <a:ext cx="509588" cy="488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5AAE6E2B-76C8-4C88-BAC5-8C2572969742}" type="datetime'''Oc''''a''''''''''k''''''''''-''''''''2''0''1''8'">
              <a:rPr lang="en-US" altLang="en-US" sz="1600">
                <a:latin typeface="Times New Roman"/>
                <a:cs typeface="Times New Roman"/>
                <a:sym typeface="Times New Roman"/>
              </a:rPr>
              <a:pPr/>
              <a:t>Ocak-2018</a:t>
            </a:fld>
            <a:endParaRPr lang="tr-TR" sz="1600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67" name="Metin Yer Tutucusu 197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223838" y="4716463"/>
            <a:ext cx="601663" cy="488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22997728-D1EF-4FA5-9645-7D65AF0B211C}" type="datetime'Ara''''''''lı''''''k''''''-''20''''''''''''''''17'''''''''''''">
              <a:rPr lang="en-US" altLang="en-US" sz="1600">
                <a:latin typeface="Times New Roman"/>
                <a:cs typeface="Times New Roman"/>
                <a:sym typeface="Times New Roman"/>
              </a:rPr>
              <a:pPr/>
              <a:t>Aralık-2017</a:t>
            </a:fld>
            <a:endParaRPr lang="tr-TR" sz="1600" dirty="0">
              <a:latin typeface="Times New Roman"/>
              <a:cs typeface="Times New Roman"/>
              <a:sym typeface="Times New Roman"/>
            </a:endParaRPr>
          </a:p>
        </p:txBody>
      </p:sp>
      <p:sp>
        <p:nvSpPr>
          <p:cNvPr id="69" name="Metin Yer Tutucusu 199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1738313" y="4716463"/>
            <a:ext cx="544513" cy="4889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rtlCol="0" anchor="t" anchorCtr="0">
            <a:noAutofit/>
          </a:bodyPr>
          <a:lstStyle>
            <a:lvl1pPr marL="342900" indent="-3429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ct val="0"/>
              </a:spcBef>
              <a:spcAft>
                <a:spcPct val="0"/>
              </a:spcAft>
              <a:buNone/>
            </a:pPr>
            <a:fld id="{4821145A-1B4A-46D9-A44B-E354819AB488}" type="datetime'''''Ş''''''''''''ubat''''''''''-2''0''''1''''''''''8'''''">
              <a:rPr lang="en-US" altLang="en-US" sz="1600">
                <a:latin typeface="Times New Roman"/>
                <a:cs typeface="Times New Roman"/>
                <a:sym typeface="Times New Roman"/>
              </a:rPr>
              <a:pPr/>
              <a:t>Şubat-2018</a:t>
            </a:fld>
            <a:endParaRPr lang="tr-TR" sz="1600" dirty="0">
              <a:latin typeface="Times New Roman"/>
              <a:cs typeface="Times New Roman"/>
              <a:sym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359301722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24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bNumberIsYear val=&quot;1&quot;/&gt;&lt;m_chMinusSymbol&gt;-&lt;/m_chMinusSymbol&gt;&lt;m_nDecimalDigits17909 val=&quot;1&quot;/&gt;&lt;m_chDecimalSymbol17909&gt;,&lt;/m_chDecimalSymbol17909&gt;&lt;m_nGroupingDigits17909 val=&quot;3&quot;/&gt;&lt;m_chGroupingSymbol17909&gt;.&lt;/m_chGroupingSymbol17909&gt;&lt;m_strSuffix17909&gt;%&lt;/m_strSuffix17909&gt;&lt;/m_precDefaultPercent&gt;&lt;m_precDefaultDate&gt;&lt;m_bNumberIsYear val=&quot;0&quot;/&gt;&lt;m_strFormatTime&gt;%#d.%#m.%Y&lt;/m_strFormatTime&gt;&lt;/m_precDefaultDate&gt;&lt;m_precDefaultYear/&gt;&lt;m_precDefaultQuarter/&gt;&lt;m_precDefaultMonth/&gt;&lt;m_precDefaultWeek/&gt;&lt;m_precDefaultDay/&gt;&lt;m_mruColor&gt;&lt;m_vecMRU length=&quot;6&quot;&gt;&lt;elem m_fUsage=&quot;1.89999999999999990000E+000&quot;&gt;&lt;m_msothmcolidx val=&quot;0&quot;/&gt;&lt;m_rgb r=&quot;56&quot; g=&quot;69&quot; b=&quot;f1&quot;/&gt;&lt;m_ppcolschidx tagver0=&quot;23004&quot; tagname0=&quot;m_ppcolschidxUNRECOGNIZED&quot; val=&quot;0&quot;/&gt;&lt;m_nBrightness val=&quot;0&quot;/&gt;&lt;/elem&gt;&lt;elem m_fUsage=&quot;1.18754100000000020000E+000&quot;&gt;&lt;m_msothmcolidx val=&quot;0&quot;/&gt;&lt;m_rgb r=&quot;fd&quot; g=&quot;c7&quot; b=&quot;b&quot;/&gt;&lt;m_ppcolschidx tagver0=&quot;23004&quot; tagname0=&quot;m_ppcolschidxUNRECOGNIZED&quot; val=&quot;0&quot;/&gt;&lt;m_nBrightness val=&quot;0&quot;/&gt;&lt;/elem&gt;&lt;elem m_fUsage=&quot;8.10000000000000050000E-001&quot;&gt;&lt;m_msothmcolidx val=&quot;0&quot;/&gt;&lt;m_rgb r=&quot;bb&quot; g=&quot;ca&quot; b=&quot;fb&quot;/&gt;&lt;m_ppcolschidx tagver0=&quot;23004&quot; tagname0=&quot;m_ppcolschidxUNRECOGNIZED&quot; val=&quot;0&quot;/&gt;&lt;m_nBrightness val=&quot;0&quot;/&gt;&lt;/elem&gt;&lt;elem m_fUsage=&quot;7.29000000000000090000E-001&quot;&gt;&lt;m_msothmcolidx val=&quot;0&quot;/&gt;&lt;m_rgb r=&quot;c1&quot; g=&quot;b&quot; b=&quot;2b&quot;/&gt;&lt;m_ppcolschidx tagver0=&quot;23004&quot; tagname0=&quot;m_ppcolschidxUNRECOGNIZED&quot; val=&quot;0&quot;/&gt;&lt;m_nBrightness val=&quot;0&quot;/&gt;&lt;/elem&gt;&lt;elem m_fUsage=&quot;5.90490000000000180000E-001&quot;&gt;&lt;m_msothmcolidx val=&quot;0&quot;/&gt;&lt;m_rgb r=&quot;2b&quot; g=&quot;f3&quot; b=&quot;f9&quot;/&gt;&lt;m_ppcolschidx tagver0=&quot;23004&quot; tagname0=&quot;m_ppcolschidxUNRECOGNIZED&quot; val=&quot;0&quot;/&gt;&lt;m_nBrightness val=&quot;0&quot;/&gt;&lt;/elem&gt;&lt;elem m_fUsage=&quot;4.78296900000000140000E-001&quot;&gt;&lt;m_msothmcolidx val=&quot;0&quot;/&gt;&lt;m_rgb r=&quot;e9&quot; g=&quot;5&quot; b=&quot;3f&quot;/&gt;&lt;m_ppcolschidx tagver0=&quot;23004&quot; tagname0=&quot;m_ppcolschidxUNRECOGNIZED&quot; val=&quot;0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_KluM.unE.K07JcMq61b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TUyRr7OrEmV_ysXHUyKh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OwEQNbkUaJfN87NXEr.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7q82wHk9ECG.1xJytzaG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LLtQUKQ_umRqASWfg1x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3RGrjs0MkeTrD.qujWeI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j7ySHUnK02BpfH3rIsq8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e5ETDJmkESZiVh5US802w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..9qgN6UO7W03skQeS4g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4U8BmsTE.Xbr5iB5jF7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9Rd6Pr0ka.ZorpLPwg6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KPhAOrhyE.QV6iPzBI1X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cGcaIqTbiu9.Ovfvy4C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B6QWSAmECA6mBz_JC6B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J_x2H8DBUG9yi.Ac0_vKg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mioFf6Cc0GIngWJypbHv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byuaGl1kyJCI1xKLxc1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CTASmZ9S0WtjcLnPQln2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ZNfZTNORuSTG43IG7_mSQ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2tWTb4IQqC2CDScP7hG.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fJy5ZA_06GGG0yrLCPw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nFHI2ZIEaPhmKmSLqp3g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sq7dzBQ06FDzSqjRhyDg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j5avj7ikih.4Nn4mYxu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v4PY30ZkKhwj0YLCfi3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0z1fL7nQwarHiuzu1t53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7nBAoYySZaCFqOB7AC4w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Q66k8SGTqSTGCZzqPFn2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HG6PQfL0GXrrS.iaazo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4BOc.qDJ0m69nQp_9sVN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_rwklJ_0CFmzD4Pbpqlg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Y3gbmnbxEe3iWWtNGkNv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s8fAWUNvUSc84Er7ucZU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fw9bBJ8TGe.8dXUA6kpD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nyYxw93kiDlILY5cCor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CpWsLW1UCdforORCY9G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PhAh0FCNUaL5SwdIter6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zJvBg_YLUKNq7Lp.Qclgg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FWKfz9U0aqyoX.YawOY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aFXf68oQhyiR5LSQ2bQv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n65khUGTJag4JJS6d2FDw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48TWgHyRHaBOSHLyfHAp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8XET5PQSyaBy4L01dG24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gy2_S_kzEyzGoPS0iyjs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4bMRRf0ScyQjmdW0zCCLQ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t6E9WuQlGE9O6CEd.lwQ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CiCfScScKFCz4_RIsPvQ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Bo38UluR2aFjl7UkrnZ3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qc_.LuyReuf0ORRR1eaf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FVrUFPKqUakzOCrU.2Fw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zRmCV_KQ1u_5iAKwlKSug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EaygSAXUS29KqwW_xA8g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f9BqgtfgE6pg76Hu0hc6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mhO8xseS0yMlxXTwd8Nz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iULU_.l2U2rR66Hp6L.2g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KhxScT3E2AIUTrt7mvx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jb03Erv5kGwMEUEhA4Imw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c_uPE6bxUilH8uO8xN2aQ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1SYEMiG9E286sKm4ogWK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dkJV0z4kuExNxGMl.HhA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daZXmI0X0.ej6091x6VCw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OBJ7nxv1EaZzjnoKbep8w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Djy5yRU70.J0yjypnEbrg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.hFuHjxU6nnL5KddeLz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ehwur_ZuUWtC2_msbbfX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3uvay94UC5ya5fagXD6A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0Xt.EyPUGzgCRmYhiICw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Uoe.kQRxUm7ijhXV9QXcg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aDQMjQoj0aEQ_RtfXN.iw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pKW8Pa01U.F0pz.8jTCww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0XPXgtvmU2PkQcHwATCcg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BVHcuZ0Ee0eTXpc7hs7Q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iO15.5mXkuiOSdRs5Ki2g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PdZTFy.Dkqb0Ud5Wycou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vmRamHe5E63OdQt6J2yLA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181y1r6CESmjkCqYy9BB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XlmwYZXLk.nqR7K1KD1qg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B.0qO5T0afMjJNAlVQFg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Aw43uGd0KQ3Vz8.xPtlg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8HgqhNasUi8Ngno0fsNq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5_etU0SxuqcrDyQNeZcw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Z_xgcl_Ak.oxGXsEb4_R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GYWXOmSKawhDAqFcC8uQ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6ABZvifckyeXOJ2OHMnbw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9QvsWERFisjs9xGyIFvA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OwEQNbkUaJfN87NXEr.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v0ppaSuuUe8IEEYSktmQ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Ej3HQVgv02D5RYCMtivbQ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AIkrzpcVkew.EOqOrdlPA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zDOYI7d0WHbq2uNNj4bQ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ieY7TScBUqnxbN.Ab.MRg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nIPQbybkioE91anPRqE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ZvvNTrgLEmz8714lCqa_g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TpM7RBVE27i9_dCd.9WA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NjEMLWukSnD5bAlSuD6w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5EgrVKKFEyG20lsF8kwkg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8MIf2SQokaGqNnJgfMf0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N9t2Jbl0qnIL3nIQYhn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ZR5RuC7506CwG4xQTUttg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cL.XTsobkKyUjFDkA2J0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W119r5hIES4jEcosLSrb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M9ODcu_ukCL08TtrG_ed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TO53SORU2SZsN_ocAZR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wN09cVMCkGoFdN06kPDu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YMrXDD3AUmHqJ7CJj36S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OwEQNbkUaJfN87NXEr.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7q82wHk9ECG.1xJytzaG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30I8q3ZT62_qw_djHGKn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ba8u_DvSHqFb.CbO7FPJ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5Qm3lnGQ02zrjipjRt2V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Yok4WA1j0y6ORwT1Xh57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Thdk._S52YFocFQ2sCC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Kw91zDBSxeIvAZTRCQhz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PL5yh21SsC6J1B3iU4_O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WO0cz.HQRuKTdvC47xzJ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fJy5ZA_06GGG0yrLCPw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v4PY30ZkKhwj0YLCfi3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wg7s49RBk6FadxUzMfM1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_byuaGl1kyJCI1xKLxc1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YUtlOzSr2eIajIuKqnW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cT_EcSGUEu0u1cYoSUbm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Wb4Zm7GQMqST7fdiHPu3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KM9kFBlIkSFixp3yCc2P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BLEeSvz4kWSzNMdu6xHtw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gobUF8Qs60Qs.xXgumD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yG0nrrWSdqUrMZYTz3NT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g3Zv4vmlkyk_MYb4G.EN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55kNtBkSkG9D2Ny.FdgC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FS8hkYPEC6iY219Qt8I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2zVyvbvSkKrRSTFliRiI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IN_oKBuk0GcHIcbLfxzE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PL4clLRN6_0fV8Ol6YE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U9LFLhTESNpY0qK3jHx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Fq_JgWOR42OkHmozq_Y4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fHG6PQfL0GXrrS.iaazo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syW0o_VRjONIuX3SwoRW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6qpIkldQxidhud32xPHUA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4Jv5y9XS42Xuc6KnSFrt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cMn.kz4QSebyNitLMD4.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RcdMX23Q9eqOC5TqUENK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5r4D.pSlWRMeot7BvLT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r1p029.l0.4E6NwFy53d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ORLJBUS6WJzCKp4QPbdg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__bj3ErSqatw.Dy9AkwF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R_tNuBRDumAbAHGjdLn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ynCdCnQhKxskQahTkU7A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eWSsMwPReKF9q_h50A.A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4q4492bSuaGj2X7VHaBf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rGPZuYhTwucnhocbDjf8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4KB5qZTreaK8DOigENjg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VzhDnhESLGHF3egvDukV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UpJPhrWSfmPvpUyuDvnD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.tTGpI9x0uv27rNK8MOr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95dlMiLRmKlZSCMNPRyF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uybuuYQEuHkVJggDzyc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lIlECoTZGSjPNVuoyCs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4C05ck9TbadDUccvIji6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kEaygSAXUS29KqwW_xA8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VFWKfz9U0aqyoX.YawOY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TCpWsLW1UCdforORCY9G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TAqa8qySMK7UxcThMYY7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f9BqgtfgE6pg76Hu0hc6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79ZrPfYlkSs5JSEKyl83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bi1prSYt0OrPZEI_ZFTA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hPmvXTRq02ilxMIvZAsa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.hFuHjxU6nnL5KddeLz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PhAh0FCNUaL5SwdIter6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rnyYxw93kiDlILY5cCor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BVHcuZ0Ee0eTXpc7hs7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oNfw_wWJUmnttDDaNa0qg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aN5PoYUTyWolL2EhQcN5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xv1ZADoRgCd.Wy5XCiphg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j6bKuQajE6aXXQ_ZWyS_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m3tMHioPUSLsTzUWB25N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.JwrxrLgEuFaFPlE8f4R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DgESUuTQXuSUpzejbSEK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ey0pz0ASq6t8AIicqo2v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FvsbYYvQyOTGJ8PRUdXw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Uoe.kQRxUm7ijhXV9QXc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PdZTFy.Dkqb0Ud5Wycou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1SvxMWqSsW9qKYv5lBgW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6ABZvifckyeXOJ2OHMnb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Aw43uGd0KQ3Vz8.xPtl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NamWWi1THGRTQGmvQScS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g6luF.yRzybpK1ZlkR1VQ"/>
</p:tagLst>
</file>

<file path=ppt/theme/theme1.xml><?xml version="1.0" encoding="utf-8"?>
<a:theme xmlns:a="http://schemas.openxmlformats.org/drawingml/2006/main" name="Ofis Teması">
  <a:themeElements>
    <a:clrScheme name="Ofis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is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is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199</TotalTime>
  <Words>148</Words>
  <Application>Microsoft Office PowerPoint</Application>
  <PresentationFormat>Ekran Gösterisi (4:3)</PresentationFormat>
  <Paragraphs>140</Paragraphs>
  <Slides>4</Slides>
  <Notes>0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Katıştırılmış OLE Hizmet Programları</vt:lpstr>
      </vt:variant>
      <vt:variant>
        <vt:i4>2</vt:i4>
      </vt:variant>
      <vt:variant>
        <vt:lpstr>Slayt Başlıkları</vt:lpstr>
      </vt:variant>
      <vt:variant>
        <vt:i4>4</vt:i4>
      </vt:variant>
    </vt:vector>
  </HeadingPairs>
  <TitlesOfParts>
    <vt:vector size="7" baseType="lpstr">
      <vt:lpstr>Ofis Teması</vt:lpstr>
      <vt:lpstr>think-cell Slide</vt:lpstr>
      <vt:lpstr>Microsoft Graph Chart</vt:lpstr>
      <vt:lpstr>PowerPoint Sunusu</vt:lpstr>
      <vt:lpstr>PowerPoint Sunusu</vt:lpstr>
      <vt:lpstr>PowerPoint Sunusu</vt:lpstr>
      <vt:lpstr>PowerPoint Sunusu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Sunusu</dc:title>
  <dc:creator>Asus11PC</dc:creator>
  <cp:lastModifiedBy>ASUS 14</cp:lastModifiedBy>
  <cp:revision>70</cp:revision>
  <dcterms:created xsi:type="dcterms:W3CDTF">2015-02-13T20:09:52Z</dcterms:created>
  <dcterms:modified xsi:type="dcterms:W3CDTF">2018-01-23T14:22:23Z</dcterms:modified>
</cp:coreProperties>
</file>